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0.xml" ContentType="application/vnd.openxmlformats-officedocument.theme+xml"/>
  <Override PartName="/ppt/slideLayouts/slideLayout153.xml" ContentType="application/vnd.openxmlformats-officedocument.presentationml.slideLayout+xml"/>
  <Override PartName="/ppt/theme/theme11.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2.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4.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5.xml" ContentType="application/vnd.openxmlformats-officedocument.theme+xml"/>
  <Override PartName="/ppt/slideLayouts/slideLayout202.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4"/>
    <p:sldMasterId id="2147483972" r:id="rId5"/>
    <p:sldMasterId id="2147483991" r:id="rId6"/>
    <p:sldMasterId id="2147484003" r:id="rId7"/>
    <p:sldMasterId id="2147484015" r:id="rId8"/>
    <p:sldMasterId id="2147484041" r:id="rId9"/>
    <p:sldMasterId id="2147484058" r:id="rId10"/>
    <p:sldMasterId id="2147484087" r:id="rId11"/>
    <p:sldMasterId id="2147484112" r:id="rId12"/>
    <p:sldMasterId id="2147484128" r:id="rId13"/>
    <p:sldMasterId id="2147484131" r:id="rId14"/>
    <p:sldMasterId id="2147484133" r:id="rId15"/>
    <p:sldMasterId id="2147484146" r:id="rId16"/>
    <p:sldMasterId id="2147484149" r:id="rId17"/>
    <p:sldMasterId id="2147484169" r:id="rId18"/>
    <p:sldMasterId id="2147484185" r:id="rId19"/>
  </p:sldMasterIdLst>
  <p:notesMasterIdLst>
    <p:notesMasterId r:id="rId36"/>
  </p:notesMasterIdLst>
  <p:sldIdLst>
    <p:sldId id="922" r:id="rId20"/>
    <p:sldId id="257" r:id="rId21"/>
    <p:sldId id="258" r:id="rId22"/>
    <p:sldId id="259" r:id="rId23"/>
    <p:sldId id="997" r:id="rId24"/>
    <p:sldId id="995" r:id="rId25"/>
    <p:sldId id="1020" r:id="rId26"/>
    <p:sldId id="461" r:id="rId27"/>
    <p:sldId id="1018" r:id="rId28"/>
    <p:sldId id="952" r:id="rId29"/>
    <p:sldId id="443" r:id="rId30"/>
    <p:sldId id="1019" r:id="rId31"/>
    <p:sldId id="941" r:id="rId32"/>
    <p:sldId id="895" r:id="rId33"/>
    <p:sldId id="901" r:id="rId34"/>
    <p:sldId id="75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3E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B8C848-68CD-4F26-9C1E-76F29C28C239}" v="23" dt="2026-02-10T19:08:41.2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4731"/>
  </p:normalViewPr>
  <p:slideViewPr>
    <p:cSldViewPr snapToGrid="0" snapToObjects="1">
      <p:cViewPr>
        <p:scale>
          <a:sx n="75" d="100"/>
          <a:sy n="75" d="100"/>
        </p:scale>
        <p:origin x="1914" y="85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theme" Target="theme/theme1.xml"/><Relationship Id="rId21" Type="http://schemas.openxmlformats.org/officeDocument/2006/relationships/slide" Target="slides/slide2.xml"/><Relationship Id="rId34" Type="http://schemas.openxmlformats.org/officeDocument/2006/relationships/slide" Target="slides/slide15.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a Klopotowska" userId="eac6eb22-5f14-46b4-a4ea-a86e6e8c4acc" providerId="ADAL" clId="{4022B3D3-17E0-4FE2-A460-E57D0E384614}"/>
    <pc:docChg chg="undo custSel addSld delSld modSld modMainMaster">
      <pc:chgData name="Marta Klopotowska" userId="eac6eb22-5f14-46b4-a4ea-a86e6e8c4acc" providerId="ADAL" clId="{4022B3D3-17E0-4FE2-A460-E57D0E384614}" dt="2026-02-10T19:22:44.170" v="1194" actId="20577"/>
      <pc:docMkLst>
        <pc:docMk/>
      </pc:docMkLst>
      <pc:sldChg chg="del">
        <pc:chgData name="Marta Klopotowska" userId="eac6eb22-5f14-46b4-a4ea-a86e6e8c4acc" providerId="ADAL" clId="{4022B3D3-17E0-4FE2-A460-E57D0E384614}" dt="2026-02-10T15:31:49.505" v="778" actId="47"/>
        <pc:sldMkLst>
          <pc:docMk/>
          <pc:sldMk cId="1139250874" sldId="256"/>
        </pc:sldMkLst>
      </pc:sldChg>
      <pc:sldChg chg="modSp mod">
        <pc:chgData name="Marta Klopotowska" userId="eac6eb22-5f14-46b4-a4ea-a86e6e8c4acc" providerId="ADAL" clId="{4022B3D3-17E0-4FE2-A460-E57D0E384614}" dt="2026-02-10T16:38:51.008" v="1161" actId="20577"/>
        <pc:sldMkLst>
          <pc:docMk/>
          <pc:sldMk cId="2325718728" sldId="257"/>
        </pc:sldMkLst>
        <pc:spChg chg="mod">
          <ac:chgData name="Marta Klopotowska" userId="eac6eb22-5f14-46b4-a4ea-a86e6e8c4acc" providerId="ADAL" clId="{4022B3D3-17E0-4FE2-A460-E57D0E384614}" dt="2026-02-10T16:38:51.008" v="1161" actId="20577"/>
          <ac:spMkLst>
            <pc:docMk/>
            <pc:sldMk cId="2325718728" sldId="257"/>
            <ac:spMk id="10" creationId="{6D5EDE2A-40A4-4199-AAF2-68729E10C1E4}"/>
          </ac:spMkLst>
        </pc:spChg>
      </pc:sldChg>
      <pc:sldChg chg="modSp mod">
        <pc:chgData name="Marta Klopotowska" userId="eac6eb22-5f14-46b4-a4ea-a86e6e8c4acc" providerId="ADAL" clId="{4022B3D3-17E0-4FE2-A460-E57D0E384614}" dt="2026-02-10T15:24:23.299" v="667"/>
        <pc:sldMkLst>
          <pc:docMk/>
          <pc:sldMk cId="3528939462" sldId="258"/>
        </pc:sldMkLst>
        <pc:spChg chg="mod">
          <ac:chgData name="Marta Klopotowska" userId="eac6eb22-5f14-46b4-a4ea-a86e6e8c4acc" providerId="ADAL" clId="{4022B3D3-17E0-4FE2-A460-E57D0E384614}" dt="2026-02-10T15:24:23.299" v="667"/>
          <ac:spMkLst>
            <pc:docMk/>
            <pc:sldMk cId="3528939462" sldId="258"/>
            <ac:spMk id="4" creationId="{00000000-0000-0000-0000-000000000000}"/>
          </ac:spMkLst>
        </pc:spChg>
      </pc:sldChg>
      <pc:sldChg chg="modSp mod">
        <pc:chgData name="Marta Klopotowska" userId="eac6eb22-5f14-46b4-a4ea-a86e6e8c4acc" providerId="ADAL" clId="{4022B3D3-17E0-4FE2-A460-E57D0E384614}" dt="2026-02-10T15:24:33.990" v="668"/>
        <pc:sldMkLst>
          <pc:docMk/>
          <pc:sldMk cId="3246698477" sldId="259"/>
        </pc:sldMkLst>
        <pc:spChg chg="mod">
          <ac:chgData name="Marta Klopotowska" userId="eac6eb22-5f14-46b4-a4ea-a86e6e8c4acc" providerId="ADAL" clId="{4022B3D3-17E0-4FE2-A460-E57D0E384614}" dt="2026-02-10T15:24:33.990" v="668"/>
          <ac:spMkLst>
            <pc:docMk/>
            <pc:sldMk cId="3246698477" sldId="259"/>
            <ac:spMk id="3" creationId="{00000000-0000-0000-0000-000000000000}"/>
          </ac:spMkLst>
        </pc:spChg>
        <pc:spChg chg="mod">
          <ac:chgData name="Marta Klopotowska" userId="eac6eb22-5f14-46b4-a4ea-a86e6e8c4acc" providerId="ADAL" clId="{4022B3D3-17E0-4FE2-A460-E57D0E384614}" dt="2026-02-10T15:24:02.197" v="665" actId="20577"/>
          <ac:spMkLst>
            <pc:docMk/>
            <pc:sldMk cId="3246698477" sldId="259"/>
            <ac:spMk id="6" creationId="{A0EE4CC9-0880-42C6-9DE7-6F418E1E107B}"/>
          </ac:spMkLst>
        </pc:spChg>
      </pc:sldChg>
      <pc:sldChg chg="del">
        <pc:chgData name="Marta Klopotowska" userId="eac6eb22-5f14-46b4-a4ea-a86e6e8c4acc" providerId="ADAL" clId="{4022B3D3-17E0-4FE2-A460-E57D0E384614}" dt="2026-02-10T15:31:51.963" v="781" actId="47"/>
        <pc:sldMkLst>
          <pc:docMk/>
          <pc:sldMk cId="3808272278" sldId="262"/>
        </pc:sldMkLst>
      </pc:sldChg>
      <pc:sldChg chg="del">
        <pc:chgData name="Marta Klopotowska" userId="eac6eb22-5f14-46b4-a4ea-a86e6e8c4acc" providerId="ADAL" clId="{4022B3D3-17E0-4FE2-A460-E57D0E384614}" dt="2026-02-10T15:31:52.481" v="782" actId="47"/>
        <pc:sldMkLst>
          <pc:docMk/>
          <pc:sldMk cId="2522894461" sldId="263"/>
        </pc:sldMkLst>
      </pc:sldChg>
      <pc:sldChg chg="del">
        <pc:chgData name="Marta Klopotowska" userId="eac6eb22-5f14-46b4-a4ea-a86e6e8c4acc" providerId="ADAL" clId="{4022B3D3-17E0-4FE2-A460-E57D0E384614}" dt="2026-02-10T15:31:53.303" v="783" actId="47"/>
        <pc:sldMkLst>
          <pc:docMk/>
          <pc:sldMk cId="3851989704" sldId="264"/>
        </pc:sldMkLst>
      </pc:sldChg>
      <pc:sldChg chg="del">
        <pc:chgData name="Marta Klopotowska" userId="eac6eb22-5f14-46b4-a4ea-a86e6e8c4acc" providerId="ADAL" clId="{4022B3D3-17E0-4FE2-A460-E57D0E384614}" dt="2026-02-10T15:31:45.961" v="772" actId="47"/>
        <pc:sldMkLst>
          <pc:docMk/>
          <pc:sldMk cId="2559523855" sldId="268"/>
        </pc:sldMkLst>
      </pc:sldChg>
      <pc:sldChg chg="del">
        <pc:chgData name="Marta Klopotowska" userId="eac6eb22-5f14-46b4-a4ea-a86e6e8c4acc" providerId="ADAL" clId="{4022B3D3-17E0-4FE2-A460-E57D0E384614}" dt="2026-02-10T15:31:41.139" v="762" actId="47"/>
        <pc:sldMkLst>
          <pc:docMk/>
          <pc:sldMk cId="579949329" sldId="269"/>
        </pc:sldMkLst>
      </pc:sldChg>
      <pc:sldChg chg="addSp delSp modSp mod">
        <pc:chgData name="Marta Klopotowska" userId="eac6eb22-5f14-46b4-a4ea-a86e6e8c4acc" providerId="ADAL" clId="{4022B3D3-17E0-4FE2-A460-E57D0E384614}" dt="2026-02-10T15:54:51.580" v="902" actId="1076"/>
        <pc:sldMkLst>
          <pc:docMk/>
          <pc:sldMk cId="2693195115" sldId="461"/>
        </pc:sldMkLst>
        <pc:spChg chg="mod">
          <ac:chgData name="Marta Klopotowska" userId="eac6eb22-5f14-46b4-a4ea-a86e6e8c4acc" providerId="ADAL" clId="{4022B3D3-17E0-4FE2-A460-E57D0E384614}" dt="2026-02-10T15:36:56.905" v="860" actId="20577"/>
          <ac:spMkLst>
            <pc:docMk/>
            <pc:sldMk cId="2693195115" sldId="461"/>
            <ac:spMk id="7" creationId="{2120AB85-4437-1759-C5DD-98A725F4D345}"/>
          </ac:spMkLst>
        </pc:spChg>
        <pc:spChg chg="add mod">
          <ac:chgData name="Marta Klopotowska" userId="eac6eb22-5f14-46b4-a4ea-a86e6e8c4acc" providerId="ADAL" clId="{4022B3D3-17E0-4FE2-A460-E57D0E384614}" dt="2026-02-10T15:54:51.580" v="902" actId="1076"/>
          <ac:spMkLst>
            <pc:docMk/>
            <pc:sldMk cId="2693195115" sldId="461"/>
            <ac:spMk id="8" creationId="{7D02E212-0D24-F569-E6F5-AC6D164D02E1}"/>
          </ac:spMkLst>
        </pc:spChg>
        <pc:picChg chg="del mod">
          <ac:chgData name="Marta Klopotowska" userId="eac6eb22-5f14-46b4-a4ea-a86e6e8c4acc" providerId="ADAL" clId="{4022B3D3-17E0-4FE2-A460-E57D0E384614}" dt="2026-02-10T15:30:32.535" v="755" actId="478"/>
          <ac:picMkLst>
            <pc:docMk/>
            <pc:sldMk cId="2693195115" sldId="461"/>
            <ac:picMk id="3" creationId="{8C0DFFE1-0206-CA82-141C-9372F288B6FA}"/>
          </ac:picMkLst>
        </pc:picChg>
        <pc:picChg chg="add del mod">
          <ac:chgData name="Marta Klopotowska" userId="eac6eb22-5f14-46b4-a4ea-a86e6e8c4acc" providerId="ADAL" clId="{4022B3D3-17E0-4FE2-A460-E57D0E384614}" dt="2026-02-10T15:37:52.927" v="881" actId="478"/>
          <ac:picMkLst>
            <pc:docMk/>
            <pc:sldMk cId="2693195115" sldId="461"/>
            <ac:picMk id="4" creationId="{F8CDCD2A-72BC-BD29-E5F9-C0F5A6C0EDCF}"/>
          </ac:picMkLst>
        </pc:picChg>
        <pc:picChg chg="add mod">
          <ac:chgData name="Marta Klopotowska" userId="eac6eb22-5f14-46b4-a4ea-a86e6e8c4acc" providerId="ADAL" clId="{4022B3D3-17E0-4FE2-A460-E57D0E384614}" dt="2026-02-10T15:36:19.018" v="836" actId="1076"/>
          <ac:picMkLst>
            <pc:docMk/>
            <pc:sldMk cId="2693195115" sldId="461"/>
            <ac:picMk id="6" creationId="{B9B3C883-FAD3-F211-3460-7B0C07D668A6}"/>
          </ac:picMkLst>
        </pc:picChg>
      </pc:sldChg>
      <pc:sldChg chg="del">
        <pc:chgData name="Marta Klopotowska" userId="eac6eb22-5f14-46b4-a4ea-a86e6e8c4acc" providerId="ADAL" clId="{4022B3D3-17E0-4FE2-A460-E57D0E384614}" dt="2026-02-10T15:31:40.270" v="761" actId="47"/>
        <pc:sldMkLst>
          <pc:docMk/>
          <pc:sldMk cId="1245556033" sldId="595"/>
        </pc:sldMkLst>
      </pc:sldChg>
      <pc:sldChg chg="modSp mod">
        <pc:chgData name="Marta Klopotowska" userId="eac6eb22-5f14-46b4-a4ea-a86e6e8c4acc" providerId="ADAL" clId="{4022B3D3-17E0-4FE2-A460-E57D0E384614}" dt="2026-02-10T16:37:10.360" v="1117"/>
        <pc:sldMkLst>
          <pc:docMk/>
          <pc:sldMk cId="2932444859" sldId="756"/>
        </pc:sldMkLst>
        <pc:spChg chg="mod">
          <ac:chgData name="Marta Klopotowska" userId="eac6eb22-5f14-46b4-a4ea-a86e6e8c4acc" providerId="ADAL" clId="{4022B3D3-17E0-4FE2-A460-E57D0E384614}" dt="2026-02-10T16:37:10.360" v="1117"/>
          <ac:spMkLst>
            <pc:docMk/>
            <pc:sldMk cId="2932444859" sldId="756"/>
            <ac:spMk id="4" creationId="{00000000-0000-0000-0000-000000000000}"/>
          </ac:spMkLst>
        </pc:spChg>
        <pc:spChg chg="mod">
          <ac:chgData name="Marta Klopotowska" userId="eac6eb22-5f14-46b4-a4ea-a86e6e8c4acc" providerId="ADAL" clId="{4022B3D3-17E0-4FE2-A460-E57D0E384614}" dt="2026-02-10T15:35:01.886" v="829" actId="20577"/>
          <ac:spMkLst>
            <pc:docMk/>
            <pc:sldMk cId="2932444859" sldId="756"/>
            <ac:spMk id="5" creationId="{9CD6A055-FAD9-4078-9E2C-C6A0AF3B2E80}"/>
          </ac:spMkLst>
        </pc:spChg>
      </pc:sldChg>
      <pc:sldChg chg="modSp">
        <pc:chgData name="Marta Klopotowska" userId="eac6eb22-5f14-46b4-a4ea-a86e6e8c4acc" providerId="ADAL" clId="{4022B3D3-17E0-4FE2-A460-E57D0E384614}" dt="2026-02-10T16:37:05.496" v="1116"/>
        <pc:sldMkLst>
          <pc:docMk/>
          <pc:sldMk cId="2237924450" sldId="895"/>
        </pc:sldMkLst>
        <pc:spChg chg="mod">
          <ac:chgData name="Marta Klopotowska" userId="eac6eb22-5f14-46b4-a4ea-a86e6e8c4acc" providerId="ADAL" clId="{4022B3D3-17E0-4FE2-A460-E57D0E384614}" dt="2026-02-10T16:37:05.496" v="1116"/>
          <ac:spMkLst>
            <pc:docMk/>
            <pc:sldMk cId="2237924450" sldId="895"/>
            <ac:spMk id="6" creationId="{00000000-0000-0000-0000-000000000000}"/>
          </ac:spMkLst>
        </pc:spChg>
      </pc:sldChg>
      <pc:sldChg chg="modSp mod">
        <pc:chgData name="Marta Klopotowska" userId="eac6eb22-5f14-46b4-a4ea-a86e6e8c4acc" providerId="ADAL" clId="{4022B3D3-17E0-4FE2-A460-E57D0E384614}" dt="2026-02-10T19:22:44.170" v="1194" actId="20577"/>
        <pc:sldMkLst>
          <pc:docMk/>
          <pc:sldMk cId="644561616" sldId="901"/>
        </pc:sldMkLst>
        <pc:spChg chg="mod">
          <ac:chgData name="Marta Klopotowska" userId="eac6eb22-5f14-46b4-a4ea-a86e6e8c4acc" providerId="ADAL" clId="{4022B3D3-17E0-4FE2-A460-E57D0E384614}" dt="2026-02-10T19:22:44.170" v="1194" actId="20577"/>
          <ac:spMkLst>
            <pc:docMk/>
            <pc:sldMk cId="644561616" sldId="901"/>
            <ac:spMk id="5" creationId="{0684A995-F67B-936D-92B4-DACCE9FBA26B}"/>
          </ac:spMkLst>
        </pc:spChg>
        <pc:spChg chg="mod">
          <ac:chgData name="Marta Klopotowska" userId="eac6eb22-5f14-46b4-a4ea-a86e6e8c4acc" providerId="ADAL" clId="{4022B3D3-17E0-4FE2-A460-E57D0E384614}" dt="2026-02-10T15:34:57.189" v="826"/>
          <ac:spMkLst>
            <pc:docMk/>
            <pc:sldMk cId="644561616" sldId="901"/>
            <ac:spMk id="6" creationId="{00000000-0000-0000-0000-000000000000}"/>
          </ac:spMkLst>
        </pc:spChg>
        <pc:picChg chg="mod">
          <ac:chgData name="Marta Klopotowska" userId="eac6eb22-5f14-46b4-a4ea-a86e6e8c4acc" providerId="ADAL" clId="{4022B3D3-17E0-4FE2-A460-E57D0E384614}" dt="2026-02-10T16:02:58.269" v="1114" actId="1076"/>
          <ac:picMkLst>
            <pc:docMk/>
            <pc:sldMk cId="644561616" sldId="901"/>
            <ac:picMk id="1028" creationId="{FFD7B0D6-DCFE-7687-A2B1-26A55F9640F8}"/>
          </ac:picMkLst>
        </pc:picChg>
      </pc:sldChg>
      <pc:sldChg chg="modSp mod">
        <pc:chgData name="Marta Klopotowska" userId="eac6eb22-5f14-46b4-a4ea-a86e6e8c4acc" providerId="ADAL" clId="{4022B3D3-17E0-4FE2-A460-E57D0E384614}" dt="2026-02-10T15:01:09.861" v="407" actId="20577"/>
        <pc:sldMkLst>
          <pc:docMk/>
          <pc:sldMk cId="3935080529" sldId="922"/>
        </pc:sldMkLst>
        <pc:spChg chg="mod">
          <ac:chgData name="Marta Klopotowska" userId="eac6eb22-5f14-46b4-a4ea-a86e6e8c4acc" providerId="ADAL" clId="{4022B3D3-17E0-4FE2-A460-E57D0E384614}" dt="2026-02-10T15:01:09.861" v="407" actId="20577"/>
          <ac:spMkLst>
            <pc:docMk/>
            <pc:sldMk cId="3935080529" sldId="922"/>
            <ac:spMk id="4" creationId="{00000000-0000-0000-0000-000000000000}"/>
          </ac:spMkLst>
        </pc:spChg>
      </pc:sldChg>
      <pc:sldChg chg="addSp delSp modSp mod">
        <pc:chgData name="Marta Klopotowska" userId="eac6eb22-5f14-46b4-a4ea-a86e6e8c4acc" providerId="ADAL" clId="{4022B3D3-17E0-4FE2-A460-E57D0E384614}" dt="2026-02-10T15:58:53.197" v="921" actId="20578"/>
        <pc:sldMkLst>
          <pc:docMk/>
          <pc:sldMk cId="3793507808" sldId="941"/>
        </pc:sldMkLst>
        <pc:spChg chg="mod">
          <ac:chgData name="Marta Klopotowska" userId="eac6eb22-5f14-46b4-a4ea-a86e6e8c4acc" providerId="ADAL" clId="{4022B3D3-17E0-4FE2-A460-E57D0E384614}" dt="2026-02-10T15:58:53.197" v="921" actId="20578"/>
          <ac:spMkLst>
            <pc:docMk/>
            <pc:sldMk cId="3793507808" sldId="941"/>
            <ac:spMk id="3" creationId="{113B9A50-DD1B-AE64-0A75-A514466EA579}"/>
          </ac:spMkLst>
        </pc:spChg>
        <pc:picChg chg="del">
          <ac:chgData name="Marta Klopotowska" userId="eac6eb22-5f14-46b4-a4ea-a86e6e8c4acc" providerId="ADAL" clId="{4022B3D3-17E0-4FE2-A460-E57D0E384614}" dt="2026-02-10T15:58:09.998" v="911" actId="478"/>
          <ac:picMkLst>
            <pc:docMk/>
            <pc:sldMk cId="3793507808" sldId="941"/>
            <ac:picMk id="5" creationId="{C6B82AED-FCA2-D733-2F5B-167DAE19261D}"/>
          </ac:picMkLst>
        </pc:picChg>
        <pc:picChg chg="add mod">
          <ac:chgData name="Marta Klopotowska" userId="eac6eb22-5f14-46b4-a4ea-a86e6e8c4acc" providerId="ADAL" clId="{4022B3D3-17E0-4FE2-A460-E57D0E384614}" dt="2026-02-10T15:58:13.284" v="912" actId="1076"/>
          <ac:picMkLst>
            <pc:docMk/>
            <pc:sldMk cId="3793507808" sldId="941"/>
            <ac:picMk id="7" creationId="{136336BE-A804-7107-5988-4AC522A5BE88}"/>
          </ac:picMkLst>
        </pc:picChg>
      </pc:sldChg>
      <pc:sldChg chg="modSp mod">
        <pc:chgData name="Marta Klopotowska" userId="eac6eb22-5f14-46b4-a4ea-a86e6e8c4acc" providerId="ADAL" clId="{4022B3D3-17E0-4FE2-A460-E57D0E384614}" dt="2026-02-10T15:34:34.213" v="825" actId="1036"/>
        <pc:sldMkLst>
          <pc:docMk/>
          <pc:sldMk cId="2989778967" sldId="952"/>
        </pc:sldMkLst>
        <pc:spChg chg="mod">
          <ac:chgData name="Marta Klopotowska" userId="eac6eb22-5f14-46b4-a4ea-a86e6e8c4acc" providerId="ADAL" clId="{4022B3D3-17E0-4FE2-A460-E57D0E384614}" dt="2026-02-10T15:34:34.213" v="825" actId="1036"/>
          <ac:spMkLst>
            <pc:docMk/>
            <pc:sldMk cId="2989778967" sldId="952"/>
            <ac:spMk id="3" creationId="{2FCF0CC0-3854-0EC7-BC64-655C62D99ECB}"/>
          </ac:spMkLst>
        </pc:spChg>
        <pc:spChg chg="mod">
          <ac:chgData name="Marta Klopotowska" userId="eac6eb22-5f14-46b4-a4ea-a86e6e8c4acc" providerId="ADAL" clId="{4022B3D3-17E0-4FE2-A460-E57D0E384614}" dt="2026-02-10T15:34:34.213" v="825" actId="1036"/>
          <ac:spMkLst>
            <pc:docMk/>
            <pc:sldMk cId="2989778967" sldId="952"/>
            <ac:spMk id="5" creationId="{E3B8E8E1-4A2D-4783-AFCA-5F22F296D0E1}"/>
          </ac:spMkLst>
        </pc:spChg>
        <pc:spChg chg="mod">
          <ac:chgData name="Marta Klopotowska" userId="eac6eb22-5f14-46b4-a4ea-a86e6e8c4acc" providerId="ADAL" clId="{4022B3D3-17E0-4FE2-A460-E57D0E384614}" dt="2026-02-10T15:33:04.847" v="816" actId="20577"/>
          <ac:spMkLst>
            <pc:docMk/>
            <pc:sldMk cId="2989778967" sldId="952"/>
            <ac:spMk id="11" creationId="{93918034-9B9D-4596-85F0-9F9E81E42410}"/>
          </ac:spMkLst>
        </pc:spChg>
        <pc:spChg chg="mod">
          <ac:chgData name="Marta Klopotowska" userId="eac6eb22-5f14-46b4-a4ea-a86e6e8c4acc" providerId="ADAL" clId="{4022B3D3-17E0-4FE2-A460-E57D0E384614}" dt="2026-02-10T15:34:34.213" v="825" actId="1036"/>
          <ac:spMkLst>
            <pc:docMk/>
            <pc:sldMk cId="2989778967" sldId="952"/>
            <ac:spMk id="36" creationId="{E400DFB1-2DAF-4260-B8BB-A3DBD5B7BB6E}"/>
          </ac:spMkLst>
        </pc:spChg>
        <pc:spChg chg="mod">
          <ac:chgData name="Marta Klopotowska" userId="eac6eb22-5f14-46b4-a4ea-a86e6e8c4acc" providerId="ADAL" clId="{4022B3D3-17E0-4FE2-A460-E57D0E384614}" dt="2026-02-10T15:34:34.213" v="825" actId="1036"/>
          <ac:spMkLst>
            <pc:docMk/>
            <pc:sldMk cId="2989778967" sldId="952"/>
            <ac:spMk id="38" creationId="{D5B6834D-986A-40DB-BB44-CA58A4D1ED09}"/>
          </ac:spMkLst>
        </pc:spChg>
        <pc:picChg chg="mod">
          <ac:chgData name="Marta Klopotowska" userId="eac6eb22-5f14-46b4-a4ea-a86e6e8c4acc" providerId="ADAL" clId="{4022B3D3-17E0-4FE2-A460-E57D0E384614}" dt="2026-02-10T15:34:34.213" v="825" actId="1036"/>
          <ac:picMkLst>
            <pc:docMk/>
            <pc:sldMk cId="2989778967" sldId="952"/>
            <ac:picMk id="4" creationId="{F114EBE4-BB71-0121-144E-449ADD8924D8}"/>
          </ac:picMkLst>
        </pc:picChg>
        <pc:picChg chg="mod">
          <ac:chgData name="Marta Klopotowska" userId="eac6eb22-5f14-46b4-a4ea-a86e6e8c4acc" providerId="ADAL" clId="{4022B3D3-17E0-4FE2-A460-E57D0E384614}" dt="2026-02-10T15:34:34.213" v="825" actId="1036"/>
          <ac:picMkLst>
            <pc:docMk/>
            <pc:sldMk cId="2989778967" sldId="952"/>
            <ac:picMk id="32" creationId="{B22171F1-4ECB-4A70-9CD8-87A22F1E81B7}"/>
          </ac:picMkLst>
        </pc:picChg>
        <pc:picChg chg="mod">
          <ac:chgData name="Marta Klopotowska" userId="eac6eb22-5f14-46b4-a4ea-a86e6e8c4acc" providerId="ADAL" clId="{4022B3D3-17E0-4FE2-A460-E57D0E384614}" dt="2026-02-10T15:34:34.213" v="825" actId="1036"/>
          <ac:picMkLst>
            <pc:docMk/>
            <pc:sldMk cId="2989778967" sldId="952"/>
            <ac:picMk id="34" creationId="{7775C7B0-5794-4CDE-BBA0-514BAF6968F3}"/>
          </ac:picMkLst>
        </pc:picChg>
      </pc:sldChg>
      <pc:sldChg chg="modSp mod">
        <pc:chgData name="Marta Klopotowska" userId="eac6eb22-5f14-46b4-a4ea-a86e6e8c4acc" providerId="ADAL" clId="{4022B3D3-17E0-4FE2-A460-E57D0E384614}" dt="2026-02-10T15:24:46.766" v="694" actId="20577"/>
        <pc:sldMkLst>
          <pc:docMk/>
          <pc:sldMk cId="1699885769" sldId="997"/>
        </pc:sldMkLst>
        <pc:spChg chg="mod">
          <ac:chgData name="Marta Klopotowska" userId="eac6eb22-5f14-46b4-a4ea-a86e6e8c4acc" providerId="ADAL" clId="{4022B3D3-17E0-4FE2-A460-E57D0E384614}" dt="2026-02-10T15:24:46.766" v="694" actId="20577"/>
          <ac:spMkLst>
            <pc:docMk/>
            <pc:sldMk cId="1699885769" sldId="997"/>
            <ac:spMk id="2" creationId="{5131E869-F888-E078-7662-83FDB7CB4F48}"/>
          </ac:spMkLst>
        </pc:spChg>
      </pc:sldChg>
      <pc:sldChg chg="delSp modSp add del mod">
        <pc:chgData name="Marta Klopotowska" userId="eac6eb22-5f14-46b4-a4ea-a86e6e8c4acc" providerId="ADAL" clId="{4022B3D3-17E0-4FE2-A460-E57D0E384614}" dt="2026-02-10T15:55:31.416" v="903" actId="47"/>
        <pc:sldMkLst>
          <pc:docMk/>
          <pc:sldMk cId="2662603415" sldId="1021"/>
        </pc:sldMkLst>
        <pc:spChg chg="del">
          <ac:chgData name="Marta Klopotowska" userId="eac6eb22-5f14-46b4-a4ea-a86e6e8c4acc" providerId="ADAL" clId="{4022B3D3-17E0-4FE2-A460-E57D0E384614}" dt="2026-02-10T15:38:29.426" v="885" actId="478"/>
          <ac:spMkLst>
            <pc:docMk/>
            <pc:sldMk cId="2662603415" sldId="1021"/>
            <ac:spMk id="8" creationId="{6C971772-DFD0-70D5-6CCC-59AA59603A68}"/>
          </ac:spMkLst>
        </pc:spChg>
        <pc:picChg chg="mod">
          <ac:chgData name="Marta Klopotowska" userId="eac6eb22-5f14-46b4-a4ea-a86e6e8c4acc" providerId="ADAL" clId="{4022B3D3-17E0-4FE2-A460-E57D0E384614}" dt="2026-02-10T15:38:33.421" v="886" actId="1076"/>
          <ac:picMkLst>
            <pc:docMk/>
            <pc:sldMk cId="2662603415" sldId="1021"/>
            <ac:picMk id="4" creationId="{4DCA861D-A51A-A3A5-7CB9-5C934615BCEA}"/>
          </ac:picMkLst>
        </pc:picChg>
        <pc:picChg chg="del">
          <ac:chgData name="Marta Klopotowska" userId="eac6eb22-5f14-46b4-a4ea-a86e6e8c4acc" providerId="ADAL" clId="{4022B3D3-17E0-4FE2-A460-E57D0E384614}" dt="2026-02-10T15:38:27.795" v="884" actId="478"/>
          <ac:picMkLst>
            <pc:docMk/>
            <pc:sldMk cId="2662603415" sldId="1021"/>
            <ac:picMk id="6" creationId="{79D5F6B0-BB5A-68EB-9834-398FFD43AC64}"/>
          </ac:picMkLst>
        </pc:picChg>
      </pc:sldChg>
      <pc:sldChg chg="del">
        <pc:chgData name="Marta Klopotowska" userId="eac6eb22-5f14-46b4-a4ea-a86e6e8c4acc" providerId="ADAL" clId="{4022B3D3-17E0-4FE2-A460-E57D0E384614}" dt="2026-02-10T15:31:45.483" v="771" actId="47"/>
        <pc:sldMkLst>
          <pc:docMk/>
          <pc:sldMk cId="2704783015" sldId="2147482327"/>
        </pc:sldMkLst>
      </pc:sldChg>
      <pc:sldChg chg="del">
        <pc:chgData name="Marta Klopotowska" userId="eac6eb22-5f14-46b4-a4ea-a86e6e8c4acc" providerId="ADAL" clId="{4022B3D3-17E0-4FE2-A460-E57D0E384614}" dt="2026-02-10T15:31:41.829" v="763" actId="47"/>
        <pc:sldMkLst>
          <pc:docMk/>
          <pc:sldMk cId="2104606201" sldId="2147482565"/>
        </pc:sldMkLst>
      </pc:sldChg>
      <pc:sldChg chg="del">
        <pc:chgData name="Marta Klopotowska" userId="eac6eb22-5f14-46b4-a4ea-a86e6e8c4acc" providerId="ADAL" clId="{4022B3D3-17E0-4FE2-A460-E57D0E384614}" dt="2026-02-10T15:31:42.733" v="765" actId="47"/>
        <pc:sldMkLst>
          <pc:docMk/>
          <pc:sldMk cId="2407118068" sldId="2147482566"/>
        </pc:sldMkLst>
      </pc:sldChg>
      <pc:sldChg chg="del">
        <pc:chgData name="Marta Klopotowska" userId="eac6eb22-5f14-46b4-a4ea-a86e6e8c4acc" providerId="ADAL" clId="{4022B3D3-17E0-4FE2-A460-E57D0E384614}" dt="2026-02-10T15:31:43.151" v="766" actId="47"/>
        <pc:sldMkLst>
          <pc:docMk/>
          <pc:sldMk cId="2979363234" sldId="2147482567"/>
        </pc:sldMkLst>
      </pc:sldChg>
      <pc:sldChg chg="del">
        <pc:chgData name="Marta Klopotowska" userId="eac6eb22-5f14-46b4-a4ea-a86e6e8c4acc" providerId="ADAL" clId="{4022B3D3-17E0-4FE2-A460-E57D0E384614}" dt="2026-02-10T15:31:42.390" v="764" actId="47"/>
        <pc:sldMkLst>
          <pc:docMk/>
          <pc:sldMk cId="490342476" sldId="2147482575"/>
        </pc:sldMkLst>
      </pc:sldChg>
      <pc:sldChg chg="del">
        <pc:chgData name="Marta Klopotowska" userId="eac6eb22-5f14-46b4-a4ea-a86e6e8c4acc" providerId="ADAL" clId="{4022B3D3-17E0-4FE2-A460-E57D0E384614}" dt="2026-02-10T15:31:43.618" v="767" actId="47"/>
        <pc:sldMkLst>
          <pc:docMk/>
          <pc:sldMk cId="3152877335" sldId="2147482587"/>
        </pc:sldMkLst>
      </pc:sldChg>
      <pc:sldChg chg="del">
        <pc:chgData name="Marta Klopotowska" userId="eac6eb22-5f14-46b4-a4ea-a86e6e8c4acc" providerId="ADAL" clId="{4022B3D3-17E0-4FE2-A460-E57D0E384614}" dt="2026-02-10T15:31:46.969" v="774" actId="47"/>
        <pc:sldMkLst>
          <pc:docMk/>
          <pc:sldMk cId="297062405" sldId="2147482597"/>
        </pc:sldMkLst>
      </pc:sldChg>
      <pc:sldChg chg="del">
        <pc:chgData name="Marta Klopotowska" userId="eac6eb22-5f14-46b4-a4ea-a86e6e8c4acc" providerId="ADAL" clId="{4022B3D3-17E0-4FE2-A460-E57D0E384614}" dt="2026-02-10T15:31:44.103" v="768" actId="47"/>
        <pc:sldMkLst>
          <pc:docMk/>
          <pc:sldMk cId="3472359056" sldId="2147482607"/>
        </pc:sldMkLst>
      </pc:sldChg>
      <pc:sldChg chg="del">
        <pc:chgData name="Marta Klopotowska" userId="eac6eb22-5f14-46b4-a4ea-a86e6e8c4acc" providerId="ADAL" clId="{4022B3D3-17E0-4FE2-A460-E57D0E384614}" dt="2026-02-10T15:31:44.566" v="769" actId="47"/>
        <pc:sldMkLst>
          <pc:docMk/>
          <pc:sldMk cId="275234265" sldId="2147482622"/>
        </pc:sldMkLst>
      </pc:sldChg>
      <pc:sldChg chg="del">
        <pc:chgData name="Marta Klopotowska" userId="eac6eb22-5f14-46b4-a4ea-a86e6e8c4acc" providerId="ADAL" clId="{4022B3D3-17E0-4FE2-A460-E57D0E384614}" dt="2026-02-10T15:31:46.463" v="773" actId="47"/>
        <pc:sldMkLst>
          <pc:docMk/>
          <pc:sldMk cId="1314817676" sldId="2147482627"/>
        </pc:sldMkLst>
      </pc:sldChg>
      <pc:sldChg chg="del">
        <pc:chgData name="Marta Klopotowska" userId="eac6eb22-5f14-46b4-a4ea-a86e6e8c4acc" providerId="ADAL" clId="{4022B3D3-17E0-4FE2-A460-E57D0E384614}" dt="2026-02-10T15:31:47.961" v="776" actId="47"/>
        <pc:sldMkLst>
          <pc:docMk/>
          <pc:sldMk cId="1342889680" sldId="2147482676"/>
        </pc:sldMkLst>
      </pc:sldChg>
      <pc:sldChg chg="del">
        <pc:chgData name="Marta Klopotowska" userId="eac6eb22-5f14-46b4-a4ea-a86e6e8c4acc" providerId="ADAL" clId="{4022B3D3-17E0-4FE2-A460-E57D0E384614}" dt="2026-02-10T15:31:54.459" v="784" actId="47"/>
        <pc:sldMkLst>
          <pc:docMk/>
          <pc:sldMk cId="529098408" sldId="2147482728"/>
        </pc:sldMkLst>
      </pc:sldChg>
      <pc:sldChg chg="del">
        <pc:chgData name="Marta Klopotowska" userId="eac6eb22-5f14-46b4-a4ea-a86e6e8c4acc" providerId="ADAL" clId="{4022B3D3-17E0-4FE2-A460-E57D0E384614}" dt="2026-02-10T15:31:47.670" v="775" actId="47"/>
        <pc:sldMkLst>
          <pc:docMk/>
          <pc:sldMk cId="2480482883" sldId="2147482760"/>
        </pc:sldMkLst>
      </pc:sldChg>
      <pc:sldChg chg="del">
        <pc:chgData name="Marta Klopotowska" userId="eac6eb22-5f14-46b4-a4ea-a86e6e8c4acc" providerId="ADAL" clId="{4022B3D3-17E0-4FE2-A460-E57D0E384614}" dt="2026-02-10T15:31:48.701" v="777" actId="47"/>
        <pc:sldMkLst>
          <pc:docMk/>
          <pc:sldMk cId="2166288649" sldId="2147482771"/>
        </pc:sldMkLst>
      </pc:sldChg>
      <pc:sldChg chg="del">
        <pc:chgData name="Marta Klopotowska" userId="eac6eb22-5f14-46b4-a4ea-a86e6e8c4acc" providerId="ADAL" clId="{4022B3D3-17E0-4FE2-A460-E57D0E384614}" dt="2026-02-10T15:31:45.048" v="770" actId="47"/>
        <pc:sldMkLst>
          <pc:docMk/>
          <pc:sldMk cId="3202079029" sldId="2147482793"/>
        </pc:sldMkLst>
      </pc:sldChg>
      <pc:sldChg chg="del">
        <pc:chgData name="Marta Klopotowska" userId="eac6eb22-5f14-46b4-a4ea-a86e6e8c4acc" providerId="ADAL" clId="{4022B3D3-17E0-4FE2-A460-E57D0E384614}" dt="2026-02-10T15:31:50.040" v="779" actId="47"/>
        <pc:sldMkLst>
          <pc:docMk/>
          <pc:sldMk cId="3836528129" sldId="2147482794"/>
        </pc:sldMkLst>
      </pc:sldChg>
      <pc:sldChg chg="del">
        <pc:chgData name="Marta Klopotowska" userId="eac6eb22-5f14-46b4-a4ea-a86e6e8c4acc" providerId="ADAL" clId="{4022B3D3-17E0-4FE2-A460-E57D0E384614}" dt="2026-02-10T15:31:51.422" v="780" actId="47"/>
        <pc:sldMkLst>
          <pc:docMk/>
          <pc:sldMk cId="4231066442" sldId="2147482795"/>
        </pc:sldMkLst>
      </pc:sldChg>
      <pc:sldMasterChg chg="modSp mod">
        <pc:chgData name="Marta Klopotowska" userId="eac6eb22-5f14-46b4-a4ea-a86e6e8c4acc" providerId="ADAL" clId="{4022B3D3-17E0-4FE2-A460-E57D0E384614}" dt="2026-02-10T15:38:58.210" v="888" actId="20577"/>
        <pc:sldMasterMkLst>
          <pc:docMk/>
          <pc:sldMasterMk cId="756595898" sldId="2147483863"/>
        </pc:sldMasterMkLst>
        <pc:spChg chg="mod">
          <ac:chgData name="Marta Klopotowska" userId="eac6eb22-5f14-46b4-a4ea-a86e6e8c4acc" providerId="ADAL" clId="{4022B3D3-17E0-4FE2-A460-E57D0E384614}" dt="2026-02-10T15:38:58.210" v="888" actId="20577"/>
          <ac:spMkLst>
            <pc:docMk/>
            <pc:sldMasterMk cId="756595898" sldId="2147483863"/>
            <ac:spMk id="6" creationId="{1F0C379E-C901-4435-91B9-11E96F0DCF77}"/>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2/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21.emf"/></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4" Type="http://schemas.openxmlformats.org/officeDocument/2006/relationships/image" Target="../media/image2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1.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9.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25.emf"/><Relationship Id="rId4" Type="http://schemas.openxmlformats.org/officeDocument/2006/relationships/oleObject" Target="../embeddings/oleObject5.bin"/></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2.xml"/><Relationship Id="rId4" Type="http://schemas.openxmlformats.org/officeDocument/2006/relationships/image" Target="../media/image35.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2.xml"/><Relationship Id="rId4" Type="http://schemas.openxmlformats.org/officeDocument/2006/relationships/image" Target="../media/image35.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2.xml"/><Relationship Id="rId4" Type="http://schemas.openxmlformats.org/officeDocument/2006/relationships/image" Target="../media/image35.sv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2.xml"/><Relationship Id="rId4" Type="http://schemas.openxmlformats.org/officeDocument/2006/relationships/image" Target="../media/image35.sv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13.xml"/><Relationship Id="rId5" Type="http://schemas.openxmlformats.org/officeDocument/2006/relationships/image" Target="../media/image39.png"/><Relationship Id="rId4" Type="http://schemas.openxmlformats.org/officeDocument/2006/relationships/image" Target="../media/image2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5.xml"/><Relationship Id="rId4" Type="http://schemas.openxmlformats.org/officeDocument/2006/relationships/image" Target="../media/image35.sv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5.xml"/><Relationship Id="rId4" Type="http://schemas.openxmlformats.org/officeDocument/2006/relationships/image" Target="../media/image35.sv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5.xml"/><Relationship Id="rId4" Type="http://schemas.openxmlformats.org/officeDocument/2006/relationships/image" Target="../media/image35.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5.xml"/><Relationship Id="rId4" Type="http://schemas.openxmlformats.org/officeDocument/2006/relationships/image" Target="../media/image35.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 Id="rId5" Type="http://schemas.openxmlformats.org/officeDocument/2006/relationships/image" Target="../media/image31.emf"/><Relationship Id="rId4" Type="http://schemas.openxmlformats.org/officeDocument/2006/relationships/image" Target="../media/image36.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6.xml"/><Relationship Id="rId4" Type="http://schemas.openxmlformats.org/officeDocument/2006/relationships/image" Target="../media/image3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b="59950"/>
          <a:stretch/>
        </p:blipFill>
        <p:spPr>
          <a:xfrm>
            <a:off x="812621" y="5768350"/>
            <a:ext cx="3669227" cy="409841"/>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5" name="Picture 4" descr="A black and white logo&#10;&#10;Description automatically generated">
            <a:extLst>
              <a:ext uri="{FF2B5EF4-FFF2-40B4-BE49-F238E27FC236}">
                <a16:creationId xmlns:a16="http://schemas.microsoft.com/office/drawing/2014/main" id="{850A6038-68C7-09B0-82A5-D17492A2D786}"/>
              </a:ext>
            </a:extLst>
          </p:cNvPr>
          <p:cNvPicPr>
            <a:picLocks noChangeAspect="1"/>
          </p:cNvPicPr>
          <p:nvPr userDrawn="1"/>
        </p:nvPicPr>
        <p:blipFill rotWithShape="1">
          <a:blip r:embed="rId4"/>
          <a:srcRect l="7245" t="32868" r="7284" b="33925"/>
          <a:stretch/>
        </p:blipFill>
        <p:spPr>
          <a:xfrm>
            <a:off x="674431" y="588358"/>
            <a:ext cx="3973769" cy="1157920"/>
          </a:xfrm>
          <a:prstGeom prst="rect">
            <a:avLst/>
          </a:prstGeom>
        </p:spPr>
      </p:pic>
      <p:sp>
        <p:nvSpPr>
          <p:cNvPr id="6" name="Subtitle 2">
            <a:extLst>
              <a:ext uri="{FF2B5EF4-FFF2-40B4-BE49-F238E27FC236}">
                <a16:creationId xmlns:a16="http://schemas.microsoft.com/office/drawing/2014/main" id="{2BE06196-A858-08D9-526D-6D3FA1FD507B}"/>
              </a:ext>
            </a:extLst>
          </p:cNvPr>
          <p:cNvSpPr txBox="1">
            <a:spLocks/>
          </p:cNvSpPr>
          <p:nvPr userDrawn="1"/>
        </p:nvSpPr>
        <p:spPr>
          <a:xfrm>
            <a:off x="820769" y="6184815"/>
            <a:ext cx="1982337" cy="4098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2400" kern="1200" baseline="0">
                <a:solidFill>
                  <a:schemeClr val="tx1"/>
                </a:solidFill>
                <a:latin typeface="Montserrat" charset="0"/>
                <a:ea typeface="+mn-ea"/>
                <a:cs typeface="+mn-cs"/>
              </a:defRPr>
            </a:lvl1pPr>
            <a:lvl2pPr marL="457200" indent="0" algn="ctr" defTabSz="914400" rtl="0" eaLnBrk="1" latinLnBrk="0" hangingPunct="1">
              <a:lnSpc>
                <a:spcPct val="90000"/>
              </a:lnSpc>
              <a:spcBef>
                <a:spcPts val="500"/>
              </a:spcBef>
              <a:buFont typeface="Arial"/>
              <a:buNone/>
              <a:defRPr sz="2000" kern="1200" baseline="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baseline="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baseline="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baseline="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1800" dirty="0"/>
              <a:t>www.ashb.com</a:t>
            </a:r>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9163490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344085" y="306917"/>
            <a:ext cx="11511375" cy="415499"/>
          </a:xfrm>
        </p:spPr>
        <p:txBody>
          <a:bodyPr>
            <a:spAutoFit/>
          </a:bodyPr>
          <a:lstStyle>
            <a:lvl1pPr>
              <a:defRPr sz="2667"/>
            </a:lvl1pPr>
          </a:lstStyle>
          <a:p>
            <a:r>
              <a:rPr lang="en-US" dirty="0"/>
              <a:t>Click To Edit Master Title Style</a:t>
            </a:r>
          </a:p>
        </p:txBody>
      </p:sp>
      <p:sp>
        <p:nvSpPr>
          <p:cNvPr id="25" name="Text Placeholder 11"/>
          <p:cNvSpPr>
            <a:spLocks noGrp="1"/>
          </p:cNvSpPr>
          <p:nvPr>
            <p:ph type="body" sz="quarter" idx="13" hasCustomPrompt="1"/>
          </p:nvPr>
        </p:nvSpPr>
        <p:spPr>
          <a:xfrm>
            <a:off x="6388100" y="5416608"/>
            <a:ext cx="5467352"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336552" y="5416608"/>
            <a:ext cx="5571064"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3" name="Content Placeholder 2"/>
          <p:cNvSpPr>
            <a:spLocks noGrp="1"/>
          </p:cNvSpPr>
          <p:nvPr>
            <p:ph sz="quarter" idx="22"/>
          </p:nvPr>
        </p:nvSpPr>
        <p:spPr>
          <a:xfrm>
            <a:off x="344076" y="1612399"/>
            <a:ext cx="5563541" cy="194925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6388100" y="1612399"/>
            <a:ext cx="5467352" cy="194925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4"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97918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9" name="Text Placeholder 11"/>
          <p:cNvSpPr>
            <a:spLocks noGrp="1"/>
          </p:cNvSpPr>
          <p:nvPr>
            <p:ph type="body" sz="quarter" idx="13" hasCustomPrompt="1"/>
          </p:nvPr>
        </p:nvSpPr>
        <p:spPr>
          <a:xfrm>
            <a:off x="6388100" y="5416608"/>
            <a:ext cx="5467352"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336561" y="5416608"/>
            <a:ext cx="5571065"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cxnSp>
        <p:nvCxnSpPr>
          <p:cNvPr id="13" name="Straight Connector 12"/>
          <p:cNvCxnSpPr/>
          <p:nvPr userDrawn="1"/>
        </p:nvCxnSpPr>
        <p:spPr>
          <a:xfrm>
            <a:off x="615135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36551" y="1604439"/>
            <a:ext cx="5571065" cy="194925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6388102" y="1604439"/>
            <a:ext cx="5467348" cy="194925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7"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12775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44083" y="3592849"/>
            <a:ext cx="11511375"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8" name="Text Placeholder 2"/>
          <p:cNvSpPr>
            <a:spLocks noGrp="1"/>
          </p:cNvSpPr>
          <p:nvPr>
            <p:ph type="body" idx="15"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6388100" y="5879064"/>
            <a:ext cx="5467352"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344075" y="5879064"/>
            <a:ext cx="5459828"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328847" y="1597679"/>
            <a:ext cx="11526604" cy="194925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344075" y="3876579"/>
            <a:ext cx="5459828" cy="194310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6388100" y="3876579"/>
            <a:ext cx="5467352"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8"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53080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336560" y="541660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26" name="Text Placeholder 11"/>
          <p:cNvSpPr>
            <a:spLocks noGrp="1"/>
          </p:cNvSpPr>
          <p:nvPr>
            <p:ph type="body" sz="quarter" idx="21" hasCustomPrompt="1"/>
          </p:nvPr>
        </p:nvSpPr>
        <p:spPr>
          <a:xfrm>
            <a:off x="8257128" y="541660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4310082" y="541660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336553" y="1590339"/>
            <a:ext cx="3598331"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82" y="1590339"/>
            <a:ext cx="3571857"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28" y="1590339"/>
            <a:ext cx="3571857"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5"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070915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336560" y="541660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344085" y="306917"/>
            <a:ext cx="11511375" cy="415499"/>
          </a:xfrm>
        </p:spPr>
        <p:txBody>
          <a:bodyPr>
            <a:spAutoFit/>
          </a:bodyPr>
          <a:lstStyle>
            <a:lvl1pPr>
              <a:defRPr sz="2667"/>
            </a:lvl1pPr>
          </a:lstStyle>
          <a:p>
            <a:r>
              <a:rPr lang="en-US" dirty="0"/>
              <a:t>Click To Edit Master Title Style</a:t>
            </a:r>
          </a:p>
        </p:txBody>
      </p:sp>
      <p:sp>
        <p:nvSpPr>
          <p:cNvPr id="13" name="Text Placeholder 11"/>
          <p:cNvSpPr>
            <a:spLocks noGrp="1"/>
          </p:cNvSpPr>
          <p:nvPr>
            <p:ph type="body" sz="quarter" idx="21" hasCustomPrompt="1"/>
          </p:nvPr>
        </p:nvSpPr>
        <p:spPr>
          <a:xfrm>
            <a:off x="8257128" y="541660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4310082" y="541660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cxnSp>
        <p:nvCxnSpPr>
          <p:cNvPr id="19" name="Straight Connector 18"/>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8073380"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344079" y="1604435"/>
            <a:ext cx="3564332"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4310082" y="1604435"/>
            <a:ext cx="3571857" cy="1949252"/>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8257128" y="1604435"/>
            <a:ext cx="3571857"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8"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4114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1604439"/>
            <a:ext cx="11518900" cy="194925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336559" y="3829387"/>
            <a:ext cx="3577975"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4310081" y="3829387"/>
            <a:ext cx="3571857"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8257126" y="3829387"/>
            <a:ext cx="3571857"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344083" y="3589633"/>
            <a:ext cx="11511375"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8" name="Text Placeholder 2"/>
          <p:cNvSpPr>
            <a:spLocks noGrp="1"/>
          </p:cNvSpPr>
          <p:nvPr>
            <p:ph type="body" idx="15"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336559" y="5829888"/>
            <a:ext cx="3577975"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8257128" y="582988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4310082" y="5829888"/>
            <a:ext cx="3571857"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1"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22"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63024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8"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25329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43403" y="2752785"/>
            <a:ext cx="4905204" cy="1352435"/>
          </a:xfrm>
          <a:prstGeom prst="rect">
            <a:avLst/>
          </a:prstGeom>
        </p:spPr>
      </p:pic>
    </p:spTree>
    <p:extLst>
      <p:ext uri="{BB962C8B-B14F-4D97-AF65-F5344CB8AC3E}">
        <p14:creationId xmlns:p14="http://schemas.microsoft.com/office/powerpoint/2010/main" val="134789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8"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81677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7" y="1589"/>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9"/>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8"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28049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4618677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9"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44228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5" y="2314500"/>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336553" y="306917"/>
            <a:ext cx="11529483"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53" y="911157"/>
            <a:ext cx="11529483" cy="338555"/>
          </a:xfrm>
        </p:spPr>
        <p:txBody>
          <a:bodyPr>
            <a:noAutofit/>
          </a:bodyPr>
          <a:lstStyle>
            <a:lvl1pPr marL="478245" indent="-457083">
              <a:buFontTx/>
              <a:buNone/>
              <a:defRPr sz="2133">
                <a:solidFill>
                  <a:schemeClr val="bg1"/>
                </a:solidFill>
              </a:defRPr>
            </a:lvl1pPr>
            <a:lvl2pPr marL="543848" indent="-304720">
              <a:buFontTx/>
              <a:buNone/>
              <a:defRPr/>
            </a:lvl2pPr>
            <a:lvl3pPr marL="782967" indent="-304720">
              <a:buFontTx/>
              <a:buNone/>
              <a:defRPr/>
            </a:lvl3pPr>
            <a:lvl4pPr marL="1024210" indent="-304720">
              <a:buFontTx/>
              <a:buNone/>
              <a:defRPr/>
            </a:lvl4pPr>
            <a:lvl5pPr marL="1252747" indent="-304720">
              <a:buFontTx/>
              <a:buNone/>
              <a:defRPr/>
            </a:lvl5pPr>
          </a:lstStyle>
          <a:p>
            <a:pPr lvl="0"/>
            <a:r>
              <a:rPr lang="en-US" dirty="0"/>
              <a:t>Click to edit Master text styles</a:t>
            </a:r>
          </a:p>
        </p:txBody>
      </p:sp>
      <p:sp>
        <p:nvSpPr>
          <p:cNvPr id="9"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0"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28492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3" y="647622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5" name="Footer Placeholder 4"/>
          <p:cNvSpPr>
            <a:spLocks noGrp="1"/>
          </p:cNvSpPr>
          <p:nvPr>
            <p:ph type="ftr" sz="quarter" idx="3"/>
          </p:nvPr>
        </p:nvSpPr>
        <p:spPr>
          <a:xfrm>
            <a:off x="336561" y="647622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6170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5_Blank">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8778241" y="6487843"/>
            <a:ext cx="2804160" cy="123111"/>
          </a:xfrm>
          <a:prstGeom prst="rect">
            <a:avLst/>
          </a:prstGeom>
        </p:spPr>
        <p:txBody>
          <a:bodyPr lIns="0" tIns="0" rIns="0" bIns="0"/>
          <a:lstStyle>
            <a:lvl1pPr algn="r">
              <a:defRPr>
                <a:solidFill>
                  <a:schemeClr val="tx1">
                    <a:tint val="75000"/>
                  </a:schemeClr>
                </a:solidFill>
              </a:defRPr>
            </a:lvl1pPr>
          </a:lstStyle>
          <a:p>
            <a:pPr defTabSz="609463">
              <a:defRPr/>
            </a:pPr>
            <a:fld id="{B6F15528-21DE-4FAA-801E-634DDDAF4B2B}" type="slidenum">
              <a:rPr lang="en-US" smtClean="0">
                <a:solidFill>
                  <a:prstClr val="black">
                    <a:tint val="75000"/>
                  </a:prstClr>
                </a:solidFill>
              </a:rPr>
              <a:pPr defTabSz="609463">
                <a:defRPr/>
              </a:pPr>
              <a:t>‹#›</a:t>
            </a:fld>
            <a:endParaRPr lang="en-US">
              <a:solidFill>
                <a:prstClr val="black">
                  <a:tint val="75000"/>
                </a:prstClr>
              </a:solidFill>
            </a:endParaRPr>
          </a:p>
        </p:txBody>
      </p:sp>
      <p:sp>
        <p:nvSpPr>
          <p:cNvPr id="5" name="Slide Number Placeholder 5"/>
          <p:cNvSpPr txBox="1">
            <a:spLocks/>
          </p:cNvSpPr>
          <p:nvPr userDrawn="1"/>
        </p:nvSpPr>
        <p:spPr>
          <a:xfrm>
            <a:off x="2330521" y="6476216"/>
            <a:ext cx="700920" cy="123111"/>
          </a:xfrm>
          <a:prstGeom prst="rect">
            <a:avLst/>
          </a:prstGeom>
        </p:spPr>
        <p:txBody>
          <a:bodyPr vert="horz" lIns="0" tIns="0" rIns="0" bIns="0" rtlCol="0" anchor="ctr">
            <a:spAutoFit/>
          </a:bodyPr>
          <a:lstStyle>
            <a:defPPr>
              <a:defRPr lang="en-US"/>
            </a:defPPr>
            <a:lvl1pPr marL="0" algn="l" defTabSz="457145" rtl="0" eaLnBrk="1" latinLnBrk="0" hangingPunct="1">
              <a:defRPr sz="600" kern="1200">
                <a:solidFill>
                  <a:schemeClr val="bg2"/>
                </a:solidFill>
                <a:latin typeface="Arial"/>
                <a:ea typeface="+mn-ea"/>
                <a:cs typeface="Arial"/>
              </a:defRPr>
            </a:lvl1pPr>
            <a:lvl2pPr marL="457145" algn="l" defTabSz="457145" rtl="0" eaLnBrk="1" latinLnBrk="0" hangingPunct="1">
              <a:defRPr sz="1800" kern="1200">
                <a:solidFill>
                  <a:schemeClr val="tx1"/>
                </a:solidFill>
                <a:latin typeface="+mn-lt"/>
                <a:ea typeface="+mn-ea"/>
                <a:cs typeface="+mn-cs"/>
              </a:defRPr>
            </a:lvl2pPr>
            <a:lvl3pPr marL="914294" algn="l" defTabSz="457145" rtl="0" eaLnBrk="1" latinLnBrk="0" hangingPunct="1">
              <a:defRPr sz="1800" kern="1200">
                <a:solidFill>
                  <a:schemeClr val="tx1"/>
                </a:solidFill>
                <a:latin typeface="+mn-lt"/>
                <a:ea typeface="+mn-ea"/>
                <a:cs typeface="+mn-cs"/>
              </a:defRPr>
            </a:lvl3pPr>
            <a:lvl4pPr marL="1371441" algn="l" defTabSz="457145" rtl="0" eaLnBrk="1" latinLnBrk="0" hangingPunct="1">
              <a:defRPr sz="1800" kern="1200">
                <a:solidFill>
                  <a:schemeClr val="tx1"/>
                </a:solidFill>
                <a:latin typeface="+mn-lt"/>
                <a:ea typeface="+mn-ea"/>
                <a:cs typeface="+mn-cs"/>
              </a:defRPr>
            </a:lvl4pPr>
            <a:lvl5pPr marL="1828589" algn="l" defTabSz="457145" rtl="0" eaLnBrk="1" latinLnBrk="0" hangingPunct="1">
              <a:defRPr sz="1800" kern="1200">
                <a:solidFill>
                  <a:schemeClr val="tx1"/>
                </a:solidFill>
                <a:latin typeface="+mn-lt"/>
                <a:ea typeface="+mn-ea"/>
                <a:cs typeface="+mn-cs"/>
              </a:defRPr>
            </a:lvl5pPr>
            <a:lvl6pPr marL="2285734" algn="l" defTabSz="457145" rtl="0" eaLnBrk="1" latinLnBrk="0" hangingPunct="1">
              <a:defRPr sz="1800" kern="1200">
                <a:solidFill>
                  <a:schemeClr val="tx1"/>
                </a:solidFill>
                <a:latin typeface="+mn-lt"/>
                <a:ea typeface="+mn-ea"/>
                <a:cs typeface="+mn-cs"/>
              </a:defRPr>
            </a:lvl6pPr>
            <a:lvl7pPr marL="2742881" algn="l" defTabSz="457145" rtl="0" eaLnBrk="1" latinLnBrk="0" hangingPunct="1">
              <a:defRPr sz="1800" kern="1200">
                <a:solidFill>
                  <a:schemeClr val="tx1"/>
                </a:solidFill>
                <a:latin typeface="+mn-lt"/>
                <a:ea typeface="+mn-ea"/>
                <a:cs typeface="+mn-cs"/>
              </a:defRPr>
            </a:lvl7pPr>
            <a:lvl8pPr marL="3200026" algn="l" defTabSz="457145" rtl="0" eaLnBrk="1" latinLnBrk="0" hangingPunct="1">
              <a:defRPr sz="1800" kern="1200">
                <a:solidFill>
                  <a:schemeClr val="tx1"/>
                </a:solidFill>
                <a:latin typeface="+mn-lt"/>
                <a:ea typeface="+mn-ea"/>
                <a:cs typeface="+mn-cs"/>
              </a:defRPr>
            </a:lvl8pPr>
            <a:lvl9pPr marL="3657173" algn="l" defTabSz="457145" rtl="0" eaLnBrk="1" latinLnBrk="0" hangingPunct="1">
              <a:defRPr sz="1800" kern="1200">
                <a:solidFill>
                  <a:schemeClr val="tx1"/>
                </a:solidFill>
                <a:latin typeface="+mn-lt"/>
                <a:ea typeface="+mn-ea"/>
                <a:cs typeface="+mn-cs"/>
              </a:defRPr>
            </a:lvl9pPr>
          </a:lstStyle>
          <a:p>
            <a:pPr marL="0" marR="0" lvl="0" indent="0" algn="l" defTabSz="6094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609495"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3DCD58"/>
              </a:solidFill>
              <a:effectLst/>
              <a:uLnTx/>
              <a:uFillTx/>
              <a:latin typeface="Arial"/>
              <a:ea typeface="+mn-ea"/>
              <a:cs typeface="Arial"/>
            </a:endParaRPr>
          </a:p>
        </p:txBody>
      </p:sp>
      <p:sp>
        <p:nvSpPr>
          <p:cNvPr id="6"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1815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83" y="2900205"/>
            <a:ext cx="11511375" cy="492443"/>
          </a:xfrm>
          <a:prstGeom prst="rect">
            <a:avLst/>
          </a:prstGeom>
        </p:spPr>
        <p:txBody>
          <a:bodyPr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4083" y="3510099"/>
            <a:ext cx="11511375" cy="292388"/>
          </a:xfrm>
          <a:prstGeom prst="rect">
            <a:avLst/>
          </a:prstGeom>
        </p:spPr>
        <p:txBody>
          <a:bodyPr lIns="0" tIns="0" rIns="0" bIns="0" anchor="ctr" anchorCtr="0">
            <a:spAutoFit/>
          </a:bodyPr>
          <a:lstStyle>
            <a:lvl1pPr marL="0" indent="0">
              <a:buNone/>
              <a:defRPr sz="1867"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4"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80343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mparison White">
    <p:spTree>
      <p:nvGrpSpPr>
        <p:cNvPr id="1" name=""/>
        <p:cNvGrpSpPr/>
        <p:nvPr/>
      </p:nvGrpSpPr>
      <p:grpSpPr>
        <a:xfrm>
          <a:off x="0" y="0"/>
          <a:ext cx="0" cy="0"/>
          <a:chOff x="0" y="0"/>
          <a:chExt cx="0" cy="0"/>
        </a:xfrm>
      </p:grpSpPr>
      <p:cxnSp>
        <p:nvCxnSpPr>
          <p:cNvPr id="7" name="Straight Connector 6"/>
          <p:cNvCxnSpPr/>
          <p:nvPr/>
        </p:nvCxnSpPr>
        <p:spPr bwMode="auto">
          <a:xfrm>
            <a:off x="11518900" y="6441017"/>
            <a:ext cx="0" cy="22860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 name="Text Placeholder 3"/>
          <p:cNvSpPr>
            <a:spLocks noGrp="1"/>
          </p:cNvSpPr>
          <p:nvPr>
            <p:ph type="body" sz="quarter" idx="10"/>
          </p:nvPr>
        </p:nvSpPr>
        <p:spPr>
          <a:xfrm>
            <a:off x="426727" y="457233"/>
            <a:ext cx="11338560" cy="492443"/>
          </a:xfrm>
        </p:spPr>
        <p:txBody>
          <a:bodyPr/>
          <a:lstStyle>
            <a:lvl1pPr marL="0" indent="0" algn="ctr">
              <a:spcBef>
                <a:spcPts val="0"/>
              </a:spcBef>
              <a:defRPr sz="32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0" name="Content Placeholder 2"/>
          <p:cNvSpPr>
            <a:spLocks noGrp="1"/>
          </p:cNvSpPr>
          <p:nvPr>
            <p:ph sz="quarter" idx="14"/>
          </p:nvPr>
        </p:nvSpPr>
        <p:spPr>
          <a:xfrm>
            <a:off x="426731" y="1988843"/>
            <a:ext cx="5477260" cy="292388"/>
          </a:xfrm>
        </p:spPr>
        <p:txBody>
          <a:bodyPr/>
          <a:lstStyle>
            <a:lvl1pPr algn="ctr">
              <a:defRPr sz="1867" b="0" i="0">
                <a:solidFill>
                  <a:schemeClr val="tx1"/>
                </a:solidFill>
                <a:latin typeface="Alleyn Book"/>
                <a:cs typeface="Alleyn Book"/>
              </a:defRPr>
            </a:lvl1pPr>
          </a:lstStyle>
          <a:p>
            <a:pPr lvl="0"/>
            <a:r>
              <a:rPr lang="en-US"/>
              <a:t>Click to edit Master text styles</a:t>
            </a:r>
          </a:p>
        </p:txBody>
      </p:sp>
      <p:sp>
        <p:nvSpPr>
          <p:cNvPr id="11" name="Content Placeholder 2"/>
          <p:cNvSpPr>
            <a:spLocks noGrp="1"/>
          </p:cNvSpPr>
          <p:nvPr>
            <p:ph sz="quarter" idx="15"/>
          </p:nvPr>
        </p:nvSpPr>
        <p:spPr>
          <a:xfrm>
            <a:off x="6274240" y="1988843"/>
            <a:ext cx="5491045" cy="292388"/>
          </a:xfrm>
        </p:spPr>
        <p:txBody>
          <a:bodyPr/>
          <a:lstStyle>
            <a:lvl1pPr algn="ctr">
              <a:defRPr sz="1867" b="0" i="0">
                <a:solidFill>
                  <a:schemeClr val="tx1"/>
                </a:solidFill>
                <a:latin typeface="Alleyn Book"/>
                <a:cs typeface="Alleyn Book"/>
              </a:defRPr>
            </a:lvl1pPr>
          </a:lstStyle>
          <a:p>
            <a:pPr lvl="0"/>
            <a:r>
              <a:rPr lang="en-US"/>
              <a:t>Click to edit Master text styles</a:t>
            </a:r>
          </a:p>
        </p:txBody>
      </p:sp>
      <p:sp>
        <p:nvSpPr>
          <p:cNvPr id="18" name="Text Placeholder 3"/>
          <p:cNvSpPr>
            <a:spLocks noGrp="1"/>
          </p:cNvSpPr>
          <p:nvPr>
            <p:ph type="body" sz="quarter" idx="17"/>
          </p:nvPr>
        </p:nvSpPr>
        <p:spPr>
          <a:xfrm>
            <a:off x="426731" y="1548635"/>
            <a:ext cx="5477260" cy="369332"/>
          </a:xfrm>
        </p:spPr>
        <p:txBody>
          <a:bodyPr anchor="b"/>
          <a:lstStyle>
            <a:lvl1pPr marL="0" indent="0" algn="ctr">
              <a:spcBef>
                <a:spcPts val="0"/>
              </a:spcBef>
              <a:defRPr sz="2400" b="0">
                <a:solidFill>
                  <a:schemeClr val="bg2"/>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9" name="Text Placeholder 3"/>
          <p:cNvSpPr>
            <a:spLocks noGrp="1"/>
          </p:cNvSpPr>
          <p:nvPr>
            <p:ph type="body" sz="quarter" idx="18"/>
          </p:nvPr>
        </p:nvSpPr>
        <p:spPr>
          <a:xfrm>
            <a:off x="6274240" y="1548635"/>
            <a:ext cx="5491045" cy="369332"/>
          </a:xfrm>
        </p:spPr>
        <p:txBody>
          <a:bodyPr anchor="b"/>
          <a:lstStyle>
            <a:lvl1pPr marL="0" indent="0" algn="ctr">
              <a:spcBef>
                <a:spcPts val="0"/>
              </a:spcBef>
              <a:defRPr sz="2400" b="0">
                <a:solidFill>
                  <a:schemeClr val="bg2"/>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8" name="Slide Number Placeholder 1"/>
          <p:cNvSpPr>
            <a:spLocks noGrp="1"/>
          </p:cNvSpPr>
          <p:nvPr>
            <p:ph type="sldNum" sz="quarter" idx="19"/>
          </p:nvPr>
        </p:nvSpPr>
        <p:spPr>
          <a:xfrm>
            <a:off x="11520287" y="6485302"/>
            <a:ext cx="529167" cy="123111"/>
          </a:xfrm>
          <a:prstGeom prst="rect">
            <a:avLst/>
          </a:prstGeom>
        </p:spPr>
        <p:txBody>
          <a:bodyPr/>
          <a:lstStyle>
            <a:lvl1pPr defTabSz="913168">
              <a:defRPr/>
            </a:lvl1pPr>
          </a:lstStyle>
          <a:p>
            <a:pPr>
              <a:defRPr/>
            </a:pPr>
            <a:fld id="{344D553B-2151-4F44-AAC7-D616F49EB8CC}" type="slidenum">
              <a:rPr lang="en-US" smtClean="0">
                <a:solidFill>
                  <a:srgbClr val="3DCD58"/>
                </a:solidFill>
              </a:rPr>
              <a:pPr>
                <a:defRPr/>
              </a:pPr>
              <a:t>‹#›</a:t>
            </a:fld>
            <a:endParaRPr lang="en-US" dirty="0">
              <a:solidFill>
                <a:srgbClr val="3DCD58"/>
              </a:solidFill>
            </a:endParaRPr>
          </a:p>
        </p:txBody>
      </p:sp>
      <p:sp>
        <p:nvSpPr>
          <p:cNvPr id="12" name="Slide Number Placeholder 5"/>
          <p:cNvSpPr txBox="1">
            <a:spLocks/>
          </p:cNvSpPr>
          <p:nvPr userDrawn="1"/>
        </p:nvSpPr>
        <p:spPr>
          <a:xfrm>
            <a:off x="2330521" y="6476216"/>
            <a:ext cx="700920" cy="123111"/>
          </a:xfrm>
          <a:prstGeom prst="rect">
            <a:avLst/>
          </a:prstGeom>
        </p:spPr>
        <p:txBody>
          <a:bodyPr vert="horz" lIns="0" tIns="0" rIns="0" bIns="0" rtlCol="0" anchor="ctr">
            <a:spAutoFit/>
          </a:bodyPr>
          <a:lstStyle>
            <a:defPPr>
              <a:defRPr lang="en-US"/>
            </a:defPPr>
            <a:lvl1pPr marL="0" algn="l" defTabSz="457145" rtl="0" eaLnBrk="1" latinLnBrk="0" hangingPunct="1">
              <a:defRPr sz="600" kern="1200">
                <a:solidFill>
                  <a:schemeClr val="bg2"/>
                </a:solidFill>
                <a:latin typeface="Arial"/>
                <a:ea typeface="+mn-ea"/>
                <a:cs typeface="Arial"/>
              </a:defRPr>
            </a:lvl1pPr>
            <a:lvl2pPr marL="457145" algn="l" defTabSz="457145" rtl="0" eaLnBrk="1" latinLnBrk="0" hangingPunct="1">
              <a:defRPr sz="1800" kern="1200">
                <a:solidFill>
                  <a:schemeClr val="tx1"/>
                </a:solidFill>
                <a:latin typeface="+mn-lt"/>
                <a:ea typeface="+mn-ea"/>
                <a:cs typeface="+mn-cs"/>
              </a:defRPr>
            </a:lvl2pPr>
            <a:lvl3pPr marL="914294" algn="l" defTabSz="457145" rtl="0" eaLnBrk="1" latinLnBrk="0" hangingPunct="1">
              <a:defRPr sz="1800" kern="1200">
                <a:solidFill>
                  <a:schemeClr val="tx1"/>
                </a:solidFill>
                <a:latin typeface="+mn-lt"/>
                <a:ea typeface="+mn-ea"/>
                <a:cs typeface="+mn-cs"/>
              </a:defRPr>
            </a:lvl3pPr>
            <a:lvl4pPr marL="1371441" algn="l" defTabSz="457145" rtl="0" eaLnBrk="1" latinLnBrk="0" hangingPunct="1">
              <a:defRPr sz="1800" kern="1200">
                <a:solidFill>
                  <a:schemeClr val="tx1"/>
                </a:solidFill>
                <a:latin typeface="+mn-lt"/>
                <a:ea typeface="+mn-ea"/>
                <a:cs typeface="+mn-cs"/>
              </a:defRPr>
            </a:lvl4pPr>
            <a:lvl5pPr marL="1828589" algn="l" defTabSz="457145" rtl="0" eaLnBrk="1" latinLnBrk="0" hangingPunct="1">
              <a:defRPr sz="1800" kern="1200">
                <a:solidFill>
                  <a:schemeClr val="tx1"/>
                </a:solidFill>
                <a:latin typeface="+mn-lt"/>
                <a:ea typeface="+mn-ea"/>
                <a:cs typeface="+mn-cs"/>
              </a:defRPr>
            </a:lvl5pPr>
            <a:lvl6pPr marL="2285734" algn="l" defTabSz="457145" rtl="0" eaLnBrk="1" latinLnBrk="0" hangingPunct="1">
              <a:defRPr sz="1800" kern="1200">
                <a:solidFill>
                  <a:schemeClr val="tx1"/>
                </a:solidFill>
                <a:latin typeface="+mn-lt"/>
                <a:ea typeface="+mn-ea"/>
                <a:cs typeface="+mn-cs"/>
              </a:defRPr>
            </a:lvl6pPr>
            <a:lvl7pPr marL="2742881" algn="l" defTabSz="457145" rtl="0" eaLnBrk="1" latinLnBrk="0" hangingPunct="1">
              <a:defRPr sz="1800" kern="1200">
                <a:solidFill>
                  <a:schemeClr val="tx1"/>
                </a:solidFill>
                <a:latin typeface="+mn-lt"/>
                <a:ea typeface="+mn-ea"/>
                <a:cs typeface="+mn-cs"/>
              </a:defRPr>
            </a:lvl7pPr>
            <a:lvl8pPr marL="3200026" algn="l" defTabSz="457145" rtl="0" eaLnBrk="1" latinLnBrk="0" hangingPunct="1">
              <a:defRPr sz="1800" kern="1200">
                <a:solidFill>
                  <a:schemeClr val="tx1"/>
                </a:solidFill>
                <a:latin typeface="+mn-lt"/>
                <a:ea typeface="+mn-ea"/>
                <a:cs typeface="+mn-cs"/>
              </a:defRPr>
            </a:lvl8pPr>
            <a:lvl9pPr marL="3657173" algn="l" defTabSz="457145" rtl="0" eaLnBrk="1" latinLnBrk="0" hangingPunct="1">
              <a:defRPr sz="1800" kern="1200">
                <a:solidFill>
                  <a:schemeClr val="tx1"/>
                </a:solidFill>
                <a:latin typeface="+mn-lt"/>
                <a:ea typeface="+mn-ea"/>
                <a:cs typeface="+mn-cs"/>
              </a:defRPr>
            </a:lvl9pPr>
          </a:lstStyle>
          <a:p>
            <a:pPr marL="0" marR="0" lvl="0" indent="0" algn="l" defTabSz="6094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609495"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3DCD58"/>
              </a:solidFill>
              <a:effectLst/>
              <a:uLnTx/>
              <a:uFillTx/>
              <a:latin typeface="Arial"/>
              <a:ea typeface="+mn-ea"/>
              <a:cs typeface="Arial"/>
            </a:endParaRPr>
          </a:p>
        </p:txBody>
      </p:sp>
      <p:sp>
        <p:nvSpPr>
          <p:cNvPr id="13"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0291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Large Object Whi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1" y="1589"/>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89"/>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09600" y="274637"/>
            <a:ext cx="10972800" cy="492443"/>
          </a:xfrm>
        </p:spPr>
        <p:txBody>
          <a:bodyPr tIns="0" anchor="t" anchorCtr="0"/>
          <a:lstStyle>
            <a:lvl1pPr algn="l">
              <a:defRPr sz="3200"/>
            </a:lvl1pPr>
          </a:lstStyle>
          <a:p>
            <a:r>
              <a:rPr lang="en-US" dirty="0"/>
              <a:t>Click to edit Master title style</a:t>
            </a:r>
          </a:p>
        </p:txBody>
      </p:sp>
      <p:sp>
        <p:nvSpPr>
          <p:cNvPr id="3" name="Content Placeholder 2"/>
          <p:cNvSpPr>
            <a:spLocks noGrp="1"/>
          </p:cNvSpPr>
          <p:nvPr>
            <p:ph sz="half" idx="1"/>
          </p:nvPr>
        </p:nvSpPr>
        <p:spPr>
          <a:xfrm>
            <a:off x="609600" y="1207701"/>
            <a:ext cx="10972800" cy="5064515"/>
          </a:xfrm>
        </p:spPr>
        <p:txBody>
          <a:bodyPr rIns="0">
            <a:noAutofit/>
          </a:bodyPr>
          <a:lstStyle>
            <a:lvl1pPr marL="0" indent="0" algn="l">
              <a:buNone/>
              <a:defRPr sz="2267">
                <a:solidFill>
                  <a:srgbClr val="626469"/>
                </a:solidFill>
              </a:defRPr>
            </a:lvl1pPr>
            <a:lvl2pPr>
              <a:defRPr sz="2400"/>
            </a:lvl2pPr>
            <a:lvl3pPr>
              <a:defRPr sz="2000"/>
            </a:lvl3pPr>
            <a:lvl4pPr>
              <a:defRPr sz="1867"/>
            </a:lvl4pPr>
            <a:lvl5pPr>
              <a:defRPr sz="1867"/>
            </a:lvl5pPr>
            <a:lvl6pPr>
              <a:defRPr sz="1867"/>
            </a:lvl6pPr>
            <a:lvl7pPr>
              <a:defRPr sz="1867"/>
            </a:lvl7pPr>
            <a:lvl8pPr>
              <a:defRPr sz="1867"/>
            </a:lvl8pPr>
            <a:lvl9pPr>
              <a:defRPr sz="1867"/>
            </a:lvl9pPr>
          </a:lstStyle>
          <a:p>
            <a:pPr lvl="0"/>
            <a:r>
              <a:rPr lang="en-US" dirty="0"/>
              <a:t>Click to edit Master text styles</a:t>
            </a:r>
          </a:p>
        </p:txBody>
      </p:sp>
    </p:spTree>
    <p:extLst>
      <p:ext uri="{BB962C8B-B14F-4D97-AF65-F5344CB8AC3E}">
        <p14:creationId xmlns:p14="http://schemas.microsoft.com/office/powerpoint/2010/main" val="269146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305"/>
            <a:ext cx="9144000" cy="1846659"/>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9"/>
            <a:ext cx="9144000" cy="369332"/>
          </a:xfrm>
        </p:spPr>
        <p:txBody>
          <a:bodyPr/>
          <a:lstStyle>
            <a:lvl1pPr marL="0" indent="0" algn="ctr">
              <a:buNone/>
              <a:defRPr sz="2400"/>
            </a:lvl1pPr>
            <a:lvl2pPr marL="457143" indent="0" algn="ctr">
              <a:buNone/>
              <a:defRPr sz="2000"/>
            </a:lvl2pPr>
            <a:lvl3pPr marL="914286" indent="0" algn="ctr">
              <a:buNone/>
              <a:defRPr sz="1867"/>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lIns="68577" tIns="34289" rIns="68577" bIns="34289"/>
          <a:lstStyle/>
          <a:p>
            <a:pPr defTabSz="609463">
              <a:defRPr/>
            </a:pPr>
            <a:fld id="{98DDEC44-8E5E-E744-B8D4-C7F1F01ED8FC}" type="datetimeFigureOut">
              <a:rPr lang="en-US" smtClean="0">
                <a:solidFill>
                  <a:prstClr val="black"/>
                </a:solidFill>
              </a:rPr>
              <a:pPr defTabSz="609463">
                <a:defRPr/>
              </a:pPr>
              <a:t>2/10/2026</a:t>
            </a:fld>
            <a:endParaRPr lang="en-US">
              <a:solidFill>
                <a:prstClr val="black"/>
              </a:solidFill>
            </a:endParaRPr>
          </a:p>
        </p:txBody>
      </p:sp>
      <p:sp>
        <p:nvSpPr>
          <p:cNvPr id="5" name="Footer Placeholder 4"/>
          <p:cNvSpPr>
            <a:spLocks noGrp="1"/>
          </p:cNvSpPr>
          <p:nvPr>
            <p:ph type="ftr" sz="quarter" idx="11"/>
          </p:nvPr>
        </p:nvSpPr>
        <p:spPr>
          <a:xfrm>
            <a:off x="336561" y="6543911"/>
            <a:ext cx="2843121" cy="123111"/>
          </a:xfrm>
          <a:prstGeom prst="rect">
            <a:avLst/>
          </a:prstGeom>
        </p:spPr>
        <p:txBody>
          <a:bodyPr/>
          <a:lstStyle/>
          <a:p>
            <a:pPr defTabSz="609463">
              <a:defRPr/>
            </a:pPr>
            <a:endParaRPr lang="en-US">
              <a:solidFill>
                <a:srgbClr val="626469"/>
              </a:solidFill>
            </a:endParaRPr>
          </a:p>
        </p:txBody>
      </p:sp>
      <p:sp>
        <p:nvSpPr>
          <p:cNvPr id="6" name="Slide Number Placeholder 5"/>
          <p:cNvSpPr>
            <a:spLocks noGrp="1"/>
          </p:cNvSpPr>
          <p:nvPr>
            <p:ph type="sldNum" sz="quarter" idx="12"/>
          </p:nvPr>
        </p:nvSpPr>
        <p:spPr>
          <a:xfrm>
            <a:off x="3050649" y="6543917"/>
            <a:ext cx="700920" cy="123111"/>
          </a:xfrm>
          <a:prstGeom prst="rect">
            <a:avLst/>
          </a:prstGeom>
        </p:spPr>
        <p:txBody>
          <a:bodyPr/>
          <a:lstStyle/>
          <a:p>
            <a:pPr defTabSz="609463">
              <a:defRPr/>
            </a:pPr>
            <a:fld id="{3CF1C6FC-DF16-B34E-B67D-E763D5D79F7B}" type="slidenum">
              <a:rPr lang="en-US" smtClean="0">
                <a:solidFill>
                  <a:srgbClr val="3DCD58"/>
                </a:solidFill>
              </a:rPr>
              <a:pPr defTabSz="609463">
                <a:defRPr/>
              </a:pPr>
              <a:t>‹#›</a:t>
            </a:fld>
            <a:endParaRPr lang="en-US">
              <a:solidFill>
                <a:srgbClr val="3DCD58"/>
              </a:solidFill>
            </a:endParaRPr>
          </a:p>
        </p:txBody>
      </p:sp>
    </p:spTree>
    <p:extLst>
      <p:ext uri="{BB962C8B-B14F-4D97-AF65-F5344CB8AC3E}">
        <p14:creationId xmlns:p14="http://schemas.microsoft.com/office/powerpoint/2010/main" val="327079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Slide">
    <p:bg>
      <p:bgPr>
        <a:solidFill>
          <a:schemeClr val="tx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title"/>
          </p:nvPr>
        </p:nvSpPr>
        <p:spPr bwMode="auto">
          <a:xfrm>
            <a:off x="426679" y="256032"/>
            <a:ext cx="1133874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a:lstStyle>
            <a:lvl1pPr>
              <a:defRPr>
                <a:solidFill>
                  <a:schemeClr val="tx2"/>
                </a:solidFill>
              </a:defRPr>
            </a:lvl1pPr>
          </a:lstStyle>
          <a:p>
            <a:pPr lvl="0"/>
            <a:r>
              <a:rPr lang="en-US"/>
              <a:t>Click to edit Master title style</a:t>
            </a:r>
            <a:endParaRPr lang="en-US" dirty="0"/>
          </a:p>
        </p:txBody>
      </p:sp>
      <p:sp>
        <p:nvSpPr>
          <p:cNvPr id="3" name="Content Placeholder 2"/>
          <p:cNvSpPr>
            <a:spLocks noGrp="1"/>
          </p:cNvSpPr>
          <p:nvPr>
            <p:ph sz="quarter" idx="15"/>
          </p:nvPr>
        </p:nvSpPr>
        <p:spPr>
          <a:xfrm>
            <a:off x="426725" y="1124719"/>
            <a:ext cx="11338560" cy="1915396"/>
          </a:xfrm>
        </p:spPr>
        <p:txBody>
          <a:bodyPr/>
          <a:lstStyle>
            <a:lvl2pPr>
              <a:defRPr spc="0"/>
            </a:lvl2pPr>
            <a:lvl3pPr>
              <a:defRPr spc="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335365" y="6552399"/>
            <a:ext cx="3840427" cy="246082"/>
          </a:xfrm>
          <a:prstGeom prst="rect">
            <a:avLst/>
          </a:prstGeom>
          <a:noFill/>
        </p:spPr>
        <p:txBody>
          <a:bodyPr wrap="square" lIns="121781" tIns="60891" rIns="121781" bIns="60891" rtlCol="0">
            <a:spAutoFit/>
          </a:bodyPr>
          <a:lstStyle/>
          <a:p>
            <a:pPr marL="0" marR="0" lvl="0" indent="0" algn="l" defTabSz="121780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26469"/>
                </a:solidFill>
                <a:effectLst/>
                <a:uLnTx/>
                <a:uFillTx/>
                <a:latin typeface="Arial"/>
                <a:ea typeface="ＭＳ Ｐゴシック" pitchFamily="34" charset="-128"/>
                <a:cs typeface="+mn-cs"/>
              </a:rPr>
              <a:t>Schneider Electric – Company Confidential</a:t>
            </a:r>
          </a:p>
        </p:txBody>
      </p:sp>
      <p:sp>
        <p:nvSpPr>
          <p:cNvPr id="13" name="Slide Number Placeholder 1"/>
          <p:cNvSpPr>
            <a:spLocks noGrp="1"/>
          </p:cNvSpPr>
          <p:nvPr>
            <p:ph type="sldNum" sz="quarter" idx="19"/>
          </p:nvPr>
        </p:nvSpPr>
        <p:spPr>
          <a:xfrm>
            <a:off x="11520282" y="6464744"/>
            <a:ext cx="529167" cy="164212"/>
          </a:xfrm>
        </p:spPr>
        <p:txBody>
          <a:bodyPr/>
          <a:lstStyle>
            <a:lvl1pPr>
              <a:defRPr sz="1067">
                <a:latin typeface="+mn-lt"/>
              </a:defRPr>
            </a:lvl1pPr>
          </a:lstStyle>
          <a:p>
            <a:pPr defTabSz="609463">
              <a:defRPr/>
            </a:pPr>
            <a:fld id="{344D553B-2151-4F44-AAC7-D616F49EB8CC}" type="slidenum">
              <a:rPr lang="en-US" smtClean="0">
                <a:solidFill>
                  <a:prstClr val="black"/>
                </a:solidFill>
              </a:rPr>
              <a:pPr defTabSz="609463">
                <a:defRPr/>
              </a:pPr>
              <a:t>‹#›</a:t>
            </a:fld>
            <a:endParaRPr lang="en-US" dirty="0">
              <a:solidFill>
                <a:prstClr val="black"/>
              </a:solidFill>
            </a:endParaRPr>
          </a:p>
        </p:txBody>
      </p:sp>
    </p:spTree>
    <p:extLst>
      <p:ext uri="{BB962C8B-B14F-4D97-AF65-F5344CB8AC3E}">
        <p14:creationId xmlns:p14="http://schemas.microsoft.com/office/powerpoint/2010/main" val="3422234947"/>
      </p:ext>
    </p:extLst>
  </p:cSld>
  <p:clrMapOvr>
    <a:overrideClrMapping bg1="dk2" tx1="lt1" bg2="dk1"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046566"/>
            <a:ext cx="12192000" cy="831716"/>
          </a:xfrm>
          <a:prstGeom prst="rect">
            <a:avLst/>
          </a:prstGeom>
          <a:solidFill>
            <a:schemeClr val="tx2">
              <a:alpha val="80000"/>
            </a:schemeClr>
          </a:solidFill>
        </p:spPr>
        <p:txBody>
          <a:bodyPr lIns="335992" tIns="0" rIns="0" bIns="335992" anchor="b" anchorCtr="0"/>
          <a:lstStyle>
            <a:lvl1pPr algn="l">
              <a:defRPr sz="32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3992780"/>
            <a:ext cx="12192000" cy="246221"/>
          </a:xfrm>
          <a:prstGeom prst="rect">
            <a:avLst/>
          </a:prstGeom>
          <a:solidFill>
            <a:schemeClr val="tx2"/>
          </a:solidFill>
        </p:spPr>
        <p:txBody>
          <a:bodyPr lIns="335992"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1351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0064841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2122" y="-2119"/>
            <a:ext cx="12189884" cy="1066800"/>
          </a:xfrm>
          <a:prstGeom prst="rect">
            <a:avLst/>
          </a:prstGeom>
          <a:noFill/>
          <a:ln w="9525">
            <a:noFill/>
            <a:miter lim="800000"/>
            <a:headEnd/>
            <a:tailEnd/>
          </a:ln>
        </p:spPr>
      </p:pic>
      <p:sp>
        <p:nvSpPr>
          <p:cNvPr id="6" name="Text Placeholder 5"/>
          <p:cNvSpPr txBox="1">
            <a:spLocks/>
          </p:cNvSpPr>
          <p:nvPr userDrawn="1"/>
        </p:nvSpPr>
        <p:spPr>
          <a:xfrm>
            <a:off x="455085" y="183761"/>
            <a:ext cx="11529483" cy="753217"/>
          </a:xfrm>
          <a:prstGeom prst="rect">
            <a:avLst/>
          </a:prstGeom>
        </p:spPr>
        <p:txBody>
          <a:bodyPr lIns="121917" tIns="60959" rIns="121917" bIns="60959" anchor="ctr" anchorCtr="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700" dirty="0">
              <a:solidFill>
                <a:schemeClr val="bg1"/>
              </a:solidFill>
              <a:latin typeface="Berlin Sans FB" panose="020E0602020502020306" pitchFamily="34" charset="0"/>
            </a:endParaRPr>
          </a:p>
        </p:txBody>
      </p:sp>
      <p:pic>
        <p:nvPicPr>
          <p:cNvPr id="4" name="Picture 3" descr="schneider_LIO_Life-Green_RGB.png"/>
          <p:cNvPicPr>
            <a:picLocks noChangeAspect="1"/>
          </p:cNvPicPr>
          <p:nvPr userDrawn="1"/>
        </p:nvPicPr>
        <p:blipFill>
          <a:blip r:embed="rId3" cstate="print"/>
          <a:stretch>
            <a:fillRect/>
          </a:stretch>
        </p:blipFill>
        <p:spPr>
          <a:xfrm>
            <a:off x="9422712" y="6002167"/>
            <a:ext cx="2722397" cy="750604"/>
          </a:xfrm>
          <a:prstGeom prst="rect">
            <a:avLst/>
          </a:prstGeom>
        </p:spPr>
      </p:pic>
    </p:spTree>
    <p:extLst>
      <p:ext uri="{BB962C8B-B14F-4D97-AF65-F5344CB8AC3E}">
        <p14:creationId xmlns:p14="http://schemas.microsoft.com/office/powerpoint/2010/main" val="378580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3692165" y="2611549"/>
            <a:ext cx="4745843" cy="1308496"/>
          </a:xfrm>
          <a:prstGeom prst="rect">
            <a:avLst/>
          </a:prstGeom>
        </p:spPr>
      </p:pic>
    </p:spTree>
    <p:extLst>
      <p:ext uri="{BB962C8B-B14F-4D97-AF65-F5344CB8AC3E}">
        <p14:creationId xmlns:p14="http://schemas.microsoft.com/office/powerpoint/2010/main" val="232002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3" y="647622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4" y="647622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73" y="1604434"/>
            <a:ext cx="11572760" cy="4235452"/>
          </a:xfrm>
          <a:prstGeom prst="rect">
            <a:avLst/>
          </a:prstGeom>
        </p:spPr>
        <p:txBody>
          <a:bodyPr wrap="square">
            <a:noAutofit/>
          </a:bodyPr>
          <a:lstStyle>
            <a:lvl1pPr>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2" y="306917"/>
            <a:ext cx="11529483" cy="492443"/>
          </a:xfrm>
          <a:prstGeom prst="rect">
            <a:avLst/>
          </a:prstGeo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7"/>
            <a:ext cx="11529483" cy="338555"/>
          </a:xfrm>
          <a:prstGeom prst="rect">
            <a:avLst/>
          </a:prstGeom>
        </p:spPr>
        <p:txBody>
          <a:bodyPr/>
          <a:lstStyle>
            <a:lvl1pPr marL="478045" indent="-456883">
              <a:buFontTx/>
              <a:buNone/>
              <a:defRPr sz="2133" baseline="0">
                <a:solidFill>
                  <a:schemeClr val="accent1"/>
                </a:solidFill>
              </a:defRPr>
            </a:lvl1pPr>
            <a:lvl2pPr marL="543620" indent="-304604">
              <a:buFontTx/>
              <a:buNone/>
              <a:defRPr/>
            </a:lvl2pPr>
            <a:lvl3pPr marL="782651" indent="-304604">
              <a:buFontTx/>
              <a:buNone/>
              <a:defRPr/>
            </a:lvl3pPr>
            <a:lvl4pPr marL="1023782" indent="-304604">
              <a:buFontTx/>
              <a:buNone/>
              <a:defRPr/>
            </a:lvl4pPr>
            <a:lvl5pPr marL="1252231" indent="-304604">
              <a:buFontTx/>
              <a:buNone/>
              <a:defRPr/>
            </a:lvl5pPr>
          </a:lstStyle>
          <a:p>
            <a:pPr lvl="0"/>
            <a:r>
              <a:rPr lang="en-US" dirty="0"/>
              <a:t>Click to edit Master text styles</a:t>
            </a:r>
          </a:p>
        </p:txBody>
      </p:sp>
      <p:sp>
        <p:nvSpPr>
          <p:cNvPr id="7" name="Rectangle 6"/>
          <p:cNvSpPr/>
          <p:nvPr userDrawn="1"/>
        </p:nvSpPr>
        <p:spPr>
          <a:xfrm>
            <a:off x="9463316" y="5999241"/>
            <a:ext cx="2728685" cy="8587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sz="2400"/>
          </a:p>
        </p:txBody>
      </p:sp>
      <p:pic>
        <p:nvPicPr>
          <p:cNvPr id="10" name="Picture 9" descr="schneider_LIO_Life-Green_RGB.png"/>
          <p:cNvPicPr>
            <a:picLocks noChangeAspect="1"/>
          </p:cNvPicPr>
          <p:nvPr userDrawn="1"/>
        </p:nvPicPr>
        <p:blipFill>
          <a:blip r:embed="rId2" cstate="print"/>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58071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1"/>
            <a:ext cx="6104468" cy="724365"/>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21" indent="-353466">
              <a:buFont typeface="Arial"/>
              <a:buChar char="•"/>
              <a:defRPr sz="2400">
                <a:solidFill>
                  <a:schemeClr val="accent1"/>
                </a:solidFill>
              </a:defRPr>
            </a:lvl2pPr>
            <a:lvl3pPr marL="943987" indent="-304784">
              <a:buFont typeface="Lucida Grande"/>
              <a:buChar char="–"/>
              <a:defRPr sz="2133">
                <a:solidFill>
                  <a:schemeClr val="accent1"/>
                </a:solidFill>
              </a:defRPr>
            </a:lvl3pPr>
            <a:lvl4pPr marL="1301686" indent="-304784">
              <a:buFont typeface="Lucida Grande"/>
              <a:buChar char="–"/>
              <a:defRPr sz="1867">
                <a:solidFill>
                  <a:schemeClr val="accent1"/>
                </a:solidFill>
              </a:defRPr>
            </a:lvl4pPr>
            <a:lvl5pPr marL="1678433" indent="-309019" defTabSz="419080">
              <a:buFont typeface="Lucida Grande"/>
              <a:buChar char="–"/>
              <a:defRPr sz="1867">
                <a:solidFill>
                  <a:schemeClr val="accent1"/>
                </a:solidFill>
              </a:defRPr>
            </a:lvl5pPr>
          </a:lstStyle>
          <a:p>
            <a:pPr lvl="0"/>
            <a:r>
              <a:rPr lang="en-US" dirty="0"/>
              <a:t>Insert Your Content Here</a:t>
            </a:r>
          </a:p>
        </p:txBody>
      </p:sp>
      <p:sp>
        <p:nvSpPr>
          <p:cNvPr id="15" name="Rectangle 14"/>
          <p:cNvSpPr/>
          <p:nvPr userDrawn="1"/>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6" name="Content Placeholder 12"/>
          <p:cNvSpPr>
            <a:spLocks noGrp="1"/>
          </p:cNvSpPr>
          <p:nvPr>
            <p:ph sz="quarter" idx="11"/>
          </p:nvPr>
        </p:nvSpPr>
        <p:spPr>
          <a:xfrm>
            <a:off x="-42532" y="-2"/>
            <a:ext cx="6508655" cy="3155737"/>
          </a:xfrm>
          <a:prstGeom prst="rect">
            <a:avLst/>
          </a:prstGeom>
          <a:solidFill>
            <a:schemeClr val="tx2">
              <a:alpha val="80000"/>
            </a:schemeClr>
          </a:solidFill>
        </p:spPr>
        <p:txBody>
          <a:bodyPr vert="horz" lIns="252000" tIns="252000" rIns="252000" bIns="252000"/>
          <a:lstStyle>
            <a:lvl1pPr marL="0" indent="0">
              <a:buNone/>
              <a:defRPr sz="3200">
                <a:solidFill>
                  <a:schemeClr val="bg1"/>
                </a:solidFill>
              </a:defRPr>
            </a:lvl1pPr>
            <a:lvl2pPr marL="590521" indent="-353466">
              <a:buFont typeface="Arial"/>
              <a:buChar char="•"/>
              <a:defRPr sz="2667">
                <a:solidFill>
                  <a:schemeClr val="bg1"/>
                </a:solidFill>
              </a:defRPr>
            </a:lvl2pPr>
            <a:lvl3pPr marL="943987" indent="-304784">
              <a:buFont typeface="Lucida Grande"/>
              <a:buChar char="–"/>
              <a:defRPr sz="2400">
                <a:solidFill>
                  <a:schemeClr val="bg1"/>
                </a:solidFill>
              </a:defRPr>
            </a:lvl3pPr>
            <a:lvl4pPr marL="1301686" indent="-304784">
              <a:buFont typeface="Lucida Grande"/>
              <a:buChar char="–"/>
              <a:defRPr sz="2133">
                <a:solidFill>
                  <a:schemeClr val="bg1"/>
                </a:solidFill>
              </a:defRPr>
            </a:lvl4pPr>
            <a:lvl5pPr marL="1678433" indent="-309019" defTabSz="419080">
              <a:buFont typeface="Lucida Grande"/>
              <a:buChar char="–"/>
              <a:defRPr sz="2133">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216803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19" y="5421737"/>
            <a:ext cx="3598333"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4" y="5421737"/>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3" y="1602699"/>
            <a:ext cx="7432559"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8" y="1602318"/>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41268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3272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3" y="5421737"/>
            <a:ext cx="7440081"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1" y="1604435"/>
            <a:ext cx="7440083"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353387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4" y="4049947"/>
            <a:ext cx="7432559"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2" y="3566415"/>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77" y="6092991"/>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1" y="1618063"/>
            <a:ext cx="7432559"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44628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4"/>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7"/>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7"/>
            <a:ext cx="5571064"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3" y="1612395"/>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59787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36"/>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7"/>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3" y="5421737"/>
            <a:ext cx="557106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38" y="1604437"/>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92646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ase 1">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C061DDF7-9294-1BFB-A1A6-16E49E7184C7}"/>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98946825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4" y="3597978"/>
            <a:ext cx="11511375"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5" y="5884191"/>
            <a:ext cx="5459828"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5" y="1597678"/>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4" y="3876577"/>
            <a:ext cx="5459828"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293613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3" y="5421737"/>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7"/>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7"/>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38"/>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1" y="306916"/>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1" y="911155"/>
            <a:ext cx="115802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41304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3" y="5421737"/>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7"/>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7"/>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38"/>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1" y="306916"/>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1" y="911155"/>
            <a:ext cx="115802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926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1604436"/>
            <a:ext cx="11518900"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1" y="3829386"/>
            <a:ext cx="3577975"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3" y="3829386"/>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18" y="3829386"/>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5" y="3507671"/>
            <a:ext cx="115113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3" y="5835018"/>
            <a:ext cx="35779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18" y="583501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3" y="583501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422690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5" name="Content Placeholder 4"/>
          <p:cNvSpPr>
            <a:spLocks noGrp="1"/>
          </p:cNvSpPr>
          <p:nvPr>
            <p:ph sz="quarter" idx="32"/>
          </p:nvPr>
        </p:nvSpPr>
        <p:spPr>
          <a:xfrm>
            <a:off x="336551" y="2314495"/>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473761"/>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15" name="Text Placeholder 11"/>
          <p:cNvSpPr>
            <a:spLocks noGrp="1"/>
          </p:cNvSpPr>
          <p:nvPr>
            <p:ph type="body" sz="quarter" idx="33"/>
          </p:nvPr>
        </p:nvSpPr>
        <p:spPr>
          <a:xfrm>
            <a:off x="336551" y="306916"/>
            <a:ext cx="11529483"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51" y="911155"/>
            <a:ext cx="11529483" cy="338555"/>
          </a:xfrm>
        </p:spPr>
        <p:txBody>
          <a:bodyPr>
            <a:noAutofit/>
          </a:bodyPr>
          <a:lstStyle>
            <a:lvl1pPr marL="478337" indent="-457173">
              <a:buFontTx/>
              <a:buNone/>
              <a:defRPr sz="2133">
                <a:solidFill>
                  <a:schemeClr val="bg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256115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9140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20" y="5421739"/>
            <a:ext cx="3598333"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8" y="5421739"/>
            <a:ext cx="7432559"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7" y="1602699"/>
            <a:ext cx="7432559"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9" y="1602320"/>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131986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2" y="306917"/>
            <a:ext cx="11529483" cy="492443"/>
          </a:xfrm>
        </p:spPr>
        <p:txBody>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7"/>
            <a:ext cx="11529483" cy="338555"/>
          </a:xfrm>
        </p:spPr>
        <p:txBody>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2465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7" y="5416608"/>
            <a:ext cx="7440081" cy="169277"/>
          </a:xfrm>
          <a:prstGeom prst="rect">
            <a:avLst/>
          </a:prstGeom>
        </p:spPr>
        <p:txBody>
          <a:bodyPr lIns="0" tIns="0" rIns="0" bIns="0" anchor="b" anchorCtr="0">
            <a:spAutoFit/>
          </a:bodyPr>
          <a:lstStyle>
            <a:lvl1pPr marL="21159"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2" y="1604439"/>
            <a:ext cx="7440083"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336552" y="306917"/>
            <a:ext cx="11529483" cy="492443"/>
          </a:xfrm>
        </p:spPr>
        <p:txBody>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2" y="911157"/>
            <a:ext cx="11529483" cy="338555"/>
          </a:xfrm>
        </p:spPr>
        <p:txBody>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222031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8" y="4049949"/>
            <a:ext cx="7432559"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7" y="3566415"/>
            <a:ext cx="7432559"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81" y="6092991"/>
            <a:ext cx="7432559"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5" y="1618067"/>
            <a:ext cx="7432559"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407470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ase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2052275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8"/>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9"/>
            <a:ext cx="5467352"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9"/>
            <a:ext cx="5571064"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4" y="1612399"/>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256323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40"/>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9"/>
            <a:ext cx="5467352"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7" y="5421739"/>
            <a:ext cx="5571065"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42" y="1604441"/>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326916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8" y="3592849"/>
            <a:ext cx="11511375" cy="169277"/>
          </a:xfrm>
          <a:prstGeom prst="rect">
            <a:avLst/>
          </a:prstGeom>
        </p:spPr>
        <p:txBody>
          <a:bodyPr lIns="0" tIns="0" rIns="0" bIns="0" anchor="b" anchorCtr="0">
            <a:spAutoFit/>
          </a:bodyPr>
          <a:lstStyle>
            <a:lvl1pPr marL="21159"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7" y="5884191"/>
            <a:ext cx="5459828"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7" y="1597682"/>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5" y="3876577"/>
            <a:ext cx="5459828"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9994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7" y="542173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23" y="5421739"/>
            <a:ext cx="3659716"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9"/>
            <a:ext cx="362382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42"/>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23"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2" y="911157"/>
            <a:ext cx="115802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3919807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7" y="542173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23" y="5421739"/>
            <a:ext cx="3659716"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9"/>
            <a:ext cx="362382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42"/>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23"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2" y="911157"/>
            <a:ext cx="115802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609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4" y="1604437"/>
            <a:ext cx="11518900"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5" y="3829388"/>
            <a:ext cx="3577975"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7" y="3829388"/>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22" y="3829388"/>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9" y="3507671"/>
            <a:ext cx="11511375"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7" y="5835019"/>
            <a:ext cx="3577975"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22" y="583501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7" y="583501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16808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6"/>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879" tIns="60939" rIns="121879" bIns="60939" rtlCol="0" anchor="ctr"/>
          <a:lstStyle/>
          <a:p>
            <a:pPr algn="ctr"/>
            <a:endParaRPr lang="en-US" sz="2399" dirty="0"/>
          </a:p>
        </p:txBody>
      </p:sp>
      <p:sp>
        <p:nvSpPr>
          <p:cNvPr id="5" name="Content Placeholder 4"/>
          <p:cNvSpPr>
            <a:spLocks noGrp="1"/>
          </p:cNvSpPr>
          <p:nvPr>
            <p:ph sz="quarter" idx="32"/>
          </p:nvPr>
        </p:nvSpPr>
        <p:spPr>
          <a:xfrm>
            <a:off x="336554" y="2314499"/>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473765"/>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879" tIns="60939" rIns="121879" bIns="60939" rtlCol="0" anchor="ctr"/>
          <a:lstStyle/>
          <a:p>
            <a:pPr algn="ctr"/>
            <a:endParaRPr lang="en-US" sz="2399" dirty="0"/>
          </a:p>
        </p:txBody>
      </p:sp>
      <p:sp>
        <p:nvSpPr>
          <p:cNvPr id="15" name="Text Placeholder 11"/>
          <p:cNvSpPr>
            <a:spLocks noGrp="1"/>
          </p:cNvSpPr>
          <p:nvPr>
            <p:ph type="body" sz="quarter" idx="33"/>
          </p:nvPr>
        </p:nvSpPr>
        <p:spPr>
          <a:xfrm>
            <a:off x="336552" y="306917"/>
            <a:ext cx="11529483" cy="492443"/>
          </a:xfrm>
        </p:spPr>
        <p:txBody>
          <a:bodyPr>
            <a:noAutofit/>
          </a:bodyPr>
          <a:lstStyle>
            <a:lvl1pPr>
              <a:buFontTx/>
              <a:buNone/>
              <a:defRPr sz="3199">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52" y="911157"/>
            <a:ext cx="11529483" cy="338555"/>
          </a:xfrm>
        </p:spPr>
        <p:txBody>
          <a:bodyPr>
            <a:noAutofit/>
          </a:bodyPr>
          <a:lstStyle>
            <a:lvl1pPr marL="478187" indent="-457029">
              <a:buFontTx/>
              <a:buNone/>
              <a:defRPr sz="2133">
                <a:solidFill>
                  <a:schemeClr val="bg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358806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8734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3_Standard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1A4DCFE-4499-2B4B-AE71-59DB6A009AE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125" t="2050" r="1125" b="20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6F041DF3-2DD3-0A4F-935A-E480C469B775}"/>
              </a:ext>
            </a:extLst>
          </p:cNvPr>
          <p:cNvSpPr/>
          <p:nvPr userDrawn="1"/>
        </p:nvSpPr>
        <p:spPr>
          <a:xfrm>
            <a:off x="0" y="1"/>
            <a:ext cx="12192000" cy="6858000"/>
          </a:xfrm>
          <a:prstGeom prst="rect">
            <a:avLst/>
          </a:prstGeom>
          <a:solidFill>
            <a:schemeClr val="tx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884E3F2-3335-5C4A-B9C2-190E62F50E3E}"/>
              </a:ext>
            </a:extLst>
          </p:cNvPr>
          <p:cNvSpPr/>
          <p:nvPr userDrawn="1"/>
        </p:nvSpPr>
        <p:spPr>
          <a:xfrm>
            <a:off x="-8" y="0"/>
            <a:ext cx="12192000" cy="6858000"/>
          </a:xfrm>
          <a:prstGeom prst="rect">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8CF6EB72-225D-3B4C-BC3B-2E304A44C464}"/>
              </a:ext>
            </a:extLst>
          </p:cNvPr>
          <p:cNvSpPr/>
          <p:nvPr userDrawn="1"/>
        </p:nvSpPr>
        <p:spPr>
          <a:xfrm>
            <a:off x="0" y="3"/>
            <a:ext cx="12192000" cy="122827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609042"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object 3">
            <a:extLst>
              <a:ext uri="{FF2B5EF4-FFF2-40B4-BE49-F238E27FC236}">
                <a16:creationId xmlns:a16="http://schemas.microsoft.com/office/drawing/2014/main" id="{8148AA98-7085-6448-BC21-12FF38E672FB}"/>
              </a:ext>
            </a:extLst>
          </p:cNvPr>
          <p:cNvSpPr/>
          <p:nvPr userDrawn="1"/>
        </p:nvSpPr>
        <p:spPr>
          <a:xfrm flipH="1">
            <a:off x="3179" y="1218533"/>
            <a:ext cx="12185651" cy="129529"/>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608162"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dirty="0">
              <a:ln>
                <a:noFill/>
              </a:ln>
              <a:solidFill>
                <a:prstClr val="black"/>
              </a:solidFill>
              <a:effectLst/>
              <a:uLnTx/>
              <a:uFillTx/>
              <a:latin typeface="Arial Rounded MT Std" panose="020F0502020102020204" pitchFamily="34" charset="0"/>
              <a:ea typeface="+mn-ea"/>
              <a:cs typeface="+mn-cs"/>
            </a:endParaRPr>
          </a:p>
        </p:txBody>
      </p:sp>
      <p:graphicFrame>
        <p:nvGraphicFramePr>
          <p:cNvPr id="2" name="Objet 1" hidden="1"/>
          <p:cNvGraphicFramePr>
            <a:graphicFrameLocks noChangeAspect="1"/>
          </p:cNvGraphicFramePr>
          <p:nvPr userDrawn="1">
            <p:custDataLst>
              <p:tags r:id="rId1"/>
            </p:custData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2121"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tx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dirty="0"/>
              <a:t>Confidential Property of Schneider Electric |</a:t>
            </a:r>
          </a:p>
        </p:txBody>
      </p:sp>
      <p:sp>
        <p:nvSpPr>
          <p:cNvPr id="3" name="Title 2"/>
          <p:cNvSpPr>
            <a:spLocks noGrp="1"/>
          </p:cNvSpPr>
          <p:nvPr>
            <p:ph type="title"/>
          </p:nvPr>
        </p:nvSpPr>
        <p:spPr>
          <a:xfrm>
            <a:off x="0" y="204792"/>
            <a:ext cx="12192000" cy="772800"/>
          </a:xfrm>
          <a:prstGeom prst="rect">
            <a:avLst/>
          </a:prstGeom>
        </p:spPr>
        <p:txBody>
          <a:bodyPr lIns="252000" tIns="0" rIns="252000" bIns="0" anchor="ctr"/>
          <a:lstStyle>
            <a:lvl1pPr>
              <a:defRPr sz="2399" b="1">
                <a:solidFill>
                  <a:schemeClr val="bg1"/>
                </a:solidFill>
              </a:defRPr>
            </a:lvl1pPr>
          </a:lstStyle>
          <a:p>
            <a:r>
              <a:rPr lang="en-US" dirty="0"/>
              <a:t>Click to edit Master title style</a:t>
            </a:r>
          </a:p>
        </p:txBody>
      </p:sp>
      <p:pic>
        <p:nvPicPr>
          <p:cNvPr id="11" name="Picture 10" descr="schneider_LIO_White_RGB.png">
            <a:extLst>
              <a:ext uri="{FF2B5EF4-FFF2-40B4-BE49-F238E27FC236}">
                <a16:creationId xmlns:a16="http://schemas.microsoft.com/office/drawing/2014/main" id="{36195FF3-4C33-3542-80A1-4ED27D8AA26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99542" y="6028300"/>
            <a:ext cx="2593991" cy="715200"/>
          </a:xfrm>
          <a:prstGeom prst="rect">
            <a:avLst/>
          </a:prstGeom>
        </p:spPr>
      </p:pic>
    </p:spTree>
    <p:extLst>
      <p:ext uri="{BB962C8B-B14F-4D97-AF65-F5344CB8AC3E}">
        <p14:creationId xmlns:p14="http://schemas.microsoft.com/office/powerpoint/2010/main" val="348661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555" y="3478965"/>
            <a:ext cx="11565163" cy="738664"/>
          </a:xfrm>
          <a:prstGeom prst="rect">
            <a:avLst/>
          </a:prstGeom>
        </p:spPr>
        <p:txBody>
          <a:bodyPr lIns="0" tIns="0" rIns="0" bIns="0" anchor="ctr" anchorCtr="0">
            <a:noAutofit/>
          </a:bodyPr>
          <a:lstStyle>
            <a:lvl1pPr marL="0" indent="0" algn="l">
              <a:buFont typeface="Arial"/>
              <a:buNone/>
              <a:defRPr sz="4799">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555"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395" indent="0" algn="ctr">
              <a:buNone/>
              <a:defRPr>
                <a:solidFill>
                  <a:schemeClr val="tx1">
                    <a:tint val="75000"/>
                  </a:schemeClr>
                </a:solidFill>
              </a:defRPr>
            </a:lvl2pPr>
            <a:lvl3pPr marL="1218792" indent="0" algn="ctr">
              <a:buNone/>
              <a:defRPr>
                <a:solidFill>
                  <a:schemeClr val="tx1">
                    <a:tint val="75000"/>
                  </a:schemeClr>
                </a:solidFill>
              </a:defRPr>
            </a:lvl3pPr>
            <a:lvl4pPr marL="1828188" indent="0" algn="ctr">
              <a:buNone/>
              <a:defRPr>
                <a:solidFill>
                  <a:schemeClr val="tx1">
                    <a:tint val="75000"/>
                  </a:schemeClr>
                </a:solidFill>
              </a:defRPr>
            </a:lvl4pPr>
            <a:lvl5pPr marL="2437584" indent="0" algn="ctr">
              <a:buNone/>
              <a:defRPr>
                <a:solidFill>
                  <a:schemeClr val="tx1">
                    <a:tint val="75000"/>
                  </a:schemeClr>
                </a:solidFill>
              </a:defRPr>
            </a:lvl5pPr>
            <a:lvl6pPr marL="3046978" indent="0" algn="ctr">
              <a:buNone/>
              <a:defRPr>
                <a:solidFill>
                  <a:schemeClr val="tx1">
                    <a:tint val="75000"/>
                  </a:schemeClr>
                </a:solidFill>
              </a:defRPr>
            </a:lvl6pPr>
            <a:lvl7pPr marL="3656373" indent="0" algn="ctr">
              <a:buNone/>
              <a:defRPr>
                <a:solidFill>
                  <a:schemeClr val="tx1">
                    <a:tint val="75000"/>
                  </a:schemeClr>
                </a:solidFill>
              </a:defRPr>
            </a:lvl7pPr>
            <a:lvl8pPr marL="4265769" indent="0" algn="ctr">
              <a:buNone/>
              <a:defRPr>
                <a:solidFill>
                  <a:schemeClr val="tx1">
                    <a:tint val="75000"/>
                  </a:schemeClr>
                </a:solidFill>
              </a:defRPr>
            </a:lvl8pPr>
            <a:lvl9pPr marL="4875166"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9422712" y="5993331"/>
            <a:ext cx="2722397" cy="750604"/>
          </a:xfrm>
          <a:prstGeom prst="rect">
            <a:avLst/>
          </a:prstGeom>
        </p:spPr>
      </p:pic>
      <p:sp>
        <p:nvSpPr>
          <p:cNvPr id="14" name="Footer Placeholder 4"/>
          <p:cNvSpPr>
            <a:spLocks noGrp="1"/>
          </p:cNvSpPr>
          <p:nvPr>
            <p:ph type="ftr" sz="quarter" idx="3"/>
          </p:nvPr>
        </p:nvSpPr>
        <p:spPr>
          <a:xfrm>
            <a:off x="336557" y="6476210"/>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4764840"/>
            <a:ext cx="12192000" cy="1015853"/>
          </a:xfrm>
          <a:prstGeom prst="rect">
            <a:avLst/>
          </a:prstGeom>
          <a:solidFill>
            <a:schemeClr val="tx2">
              <a:alpha val="80000"/>
            </a:schemeClr>
          </a:solidFill>
        </p:spPr>
        <p:txBody>
          <a:bodyPr lIns="91437" tIns="45718" rIns="91437" bIns="45718"/>
          <a:lstStyle>
            <a:lvl1pPr marL="237661"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4" tIns="60941" rIns="121884" bIns="60941" rtlCol="0" anchor="ctr"/>
          <a:lstStyle/>
          <a:p>
            <a:pPr algn="ctr"/>
            <a:endParaRPr lang="en-US" sz="2399" dirty="0"/>
          </a:p>
        </p:txBody>
      </p:sp>
    </p:spTree>
    <p:extLst>
      <p:ext uri="{BB962C8B-B14F-4D97-AF65-F5344CB8AC3E}">
        <p14:creationId xmlns:p14="http://schemas.microsoft.com/office/powerpoint/2010/main" val="183670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3">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a:prstGeom prst="rect">
            <a:avLst/>
          </a:prstGeo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a:prstGeom prst="rect">
            <a:avLst/>
          </a:prstGeo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3791148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8" y="2900205"/>
            <a:ext cx="11511375" cy="492443"/>
          </a:xfrm>
          <a:prstGeom prst="rect">
            <a:avLst/>
          </a:prstGeom>
        </p:spPr>
        <p:txBody>
          <a:bodyPr lIns="0" tIns="0" rIns="0" bIns="0" anchor="ctr" anchorCtr="0">
            <a:spAutoFit/>
          </a:bodyPr>
          <a:lstStyle>
            <a:lvl1pPr algn="l">
              <a:defRPr sz="31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4078" y="3512665"/>
            <a:ext cx="11511375" cy="287259"/>
          </a:xfrm>
          <a:prstGeom prst="rect">
            <a:avLst/>
          </a:prstGeom>
        </p:spPr>
        <p:txBody>
          <a:bodyPr lIns="0" tIns="0" rIns="0" bIns="0" anchor="ctr" anchorCtr="0">
            <a:spAutoFit/>
          </a:bodyPr>
          <a:lstStyle>
            <a:lvl1pPr marL="0" indent="0">
              <a:buNone/>
              <a:defRPr sz="1867"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5" y="6012788"/>
            <a:ext cx="2563063" cy="706672"/>
          </a:xfrm>
          <a:prstGeom prst="rect">
            <a:avLst/>
          </a:prstGeom>
        </p:spPr>
      </p:pic>
      <p:sp>
        <p:nvSpPr>
          <p:cNvPr id="13"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32611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OVER_Blank_Jan_2025">
    <p:bg>
      <p:bgPr>
        <a:solidFill>
          <a:schemeClr val="bg1"/>
        </a:solidFill>
        <a:effectLst/>
      </p:bgPr>
    </p:bg>
    <p:spTree>
      <p:nvGrpSpPr>
        <p:cNvPr id="1" name=""/>
        <p:cNvGrpSpPr/>
        <p:nvPr/>
      </p:nvGrpSpPr>
      <p:grpSpPr>
        <a:xfrm>
          <a:off x="0" y="0"/>
          <a:ext cx="0" cy="0"/>
          <a:chOff x="0" y="0"/>
          <a:chExt cx="0" cy="0"/>
        </a:xfrm>
      </p:grpSpPr>
      <p:sp>
        <p:nvSpPr>
          <p:cNvPr id="3" name="Picture Placeholder 47">
            <a:extLst>
              <a:ext uri="{FF2B5EF4-FFF2-40B4-BE49-F238E27FC236}">
                <a16:creationId xmlns:a16="http://schemas.microsoft.com/office/drawing/2014/main" id="{28561F09-7390-255E-892B-A6235BDA87FB}"/>
              </a:ext>
            </a:extLst>
          </p:cNvPr>
          <p:cNvSpPr>
            <a:spLocks noGrp="1"/>
          </p:cNvSpPr>
          <p:nvPr>
            <p:ph type="pic" sz="quarter" idx="13"/>
          </p:nvPr>
        </p:nvSpPr>
        <p:spPr>
          <a:xfrm>
            <a:off x="0" y="1406539"/>
            <a:ext cx="12192000" cy="5451461"/>
          </a:xfrm>
          <a:solidFill>
            <a:schemeClr val="bg1">
              <a:lumMod val="95000"/>
            </a:schemeClr>
          </a:solidFill>
        </p:spPr>
        <p:txBody>
          <a:bodyPr/>
          <a:lstStyle/>
          <a:p>
            <a:r>
              <a:rPr lang="en-GB"/>
              <a:t>Click icon to add picture</a:t>
            </a:r>
            <a:endParaRPr lang="en-DK"/>
          </a:p>
        </p:txBody>
      </p:sp>
      <p:sp>
        <p:nvSpPr>
          <p:cNvPr id="2" name="Title 1">
            <a:extLst>
              <a:ext uri="{FF2B5EF4-FFF2-40B4-BE49-F238E27FC236}">
                <a16:creationId xmlns:a16="http://schemas.microsoft.com/office/drawing/2014/main" id="{C0641DD1-7679-677C-E5F7-106CA2181E11}"/>
              </a:ext>
            </a:extLst>
          </p:cNvPr>
          <p:cNvSpPr>
            <a:spLocks noGrp="1"/>
          </p:cNvSpPr>
          <p:nvPr>
            <p:ph type="ctrTitle"/>
          </p:nvPr>
        </p:nvSpPr>
        <p:spPr>
          <a:xfrm>
            <a:off x="453678" y="2276475"/>
            <a:ext cx="11281694" cy="2305050"/>
          </a:xfrm>
          <a:noFill/>
        </p:spPr>
        <p:txBody>
          <a:bodyPr anchor="b" anchorCtr="0">
            <a:noAutofit/>
          </a:bodyPr>
          <a:lstStyle>
            <a:lvl1pPr algn="l">
              <a:defRPr sz="5400" b="1">
                <a:solidFill>
                  <a:schemeClr val="bg1"/>
                </a:solidFill>
              </a:defRPr>
            </a:lvl1pPr>
          </a:lstStyle>
          <a:p>
            <a:r>
              <a:rPr lang="en-GB"/>
              <a:t>Click to edit Master title style</a:t>
            </a:r>
            <a:endParaRPr lang="en-DK"/>
          </a:p>
        </p:txBody>
      </p:sp>
      <p:sp>
        <p:nvSpPr>
          <p:cNvPr id="6" name="Subtitle 2">
            <a:extLst>
              <a:ext uri="{FF2B5EF4-FFF2-40B4-BE49-F238E27FC236}">
                <a16:creationId xmlns:a16="http://schemas.microsoft.com/office/drawing/2014/main" id="{BB33BBA0-4572-0EFB-9D24-1C221E3044B7}"/>
              </a:ext>
            </a:extLst>
          </p:cNvPr>
          <p:cNvSpPr>
            <a:spLocks noGrp="1"/>
          </p:cNvSpPr>
          <p:nvPr>
            <p:ph type="subTitle" idx="1"/>
          </p:nvPr>
        </p:nvSpPr>
        <p:spPr>
          <a:xfrm>
            <a:off x="442913" y="4972430"/>
            <a:ext cx="11292937" cy="307777"/>
          </a:xfrm>
        </p:spPr>
        <p:txBody>
          <a:bodyPr wrap="square" anchor="t" anchorCtr="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DK"/>
          </a:p>
        </p:txBody>
      </p:sp>
      <p:grpSp>
        <p:nvGrpSpPr>
          <p:cNvPr id="8" name="Graphic 17">
            <a:extLst>
              <a:ext uri="{FF2B5EF4-FFF2-40B4-BE49-F238E27FC236}">
                <a16:creationId xmlns:a16="http://schemas.microsoft.com/office/drawing/2014/main" id="{05743400-598D-AE29-6467-79FF26635FC9}"/>
              </a:ext>
            </a:extLst>
          </p:cNvPr>
          <p:cNvGrpSpPr>
            <a:grpSpLocks noChangeAspect="1"/>
          </p:cNvGrpSpPr>
          <p:nvPr userDrawn="1"/>
        </p:nvGrpSpPr>
        <p:grpSpPr>
          <a:xfrm>
            <a:off x="9103088" y="6453934"/>
            <a:ext cx="2646000" cy="177687"/>
            <a:chOff x="3994150" y="3289300"/>
            <a:chExt cx="4202178" cy="282193"/>
          </a:xfrm>
          <a:solidFill>
            <a:schemeClr val="accent1"/>
          </a:solidFill>
        </p:grpSpPr>
        <p:grpSp>
          <p:nvGrpSpPr>
            <p:cNvPr id="9" name="Graphic 17">
              <a:extLst>
                <a:ext uri="{FF2B5EF4-FFF2-40B4-BE49-F238E27FC236}">
                  <a16:creationId xmlns:a16="http://schemas.microsoft.com/office/drawing/2014/main" id="{37D72526-7069-8DF2-9BDC-E23FA716E147}"/>
                </a:ext>
              </a:extLst>
            </p:cNvPr>
            <p:cNvGrpSpPr/>
            <p:nvPr/>
          </p:nvGrpSpPr>
          <p:grpSpPr>
            <a:xfrm>
              <a:off x="3994150" y="3289300"/>
              <a:ext cx="2355593" cy="276140"/>
              <a:chOff x="3994150" y="3289300"/>
              <a:chExt cx="2355593" cy="276140"/>
            </a:xfrm>
            <a:grpFill/>
          </p:grpSpPr>
          <p:sp>
            <p:nvSpPr>
              <p:cNvPr id="22" name="Freeform 21">
                <a:extLst>
                  <a:ext uri="{FF2B5EF4-FFF2-40B4-BE49-F238E27FC236}">
                    <a16:creationId xmlns:a16="http://schemas.microsoft.com/office/drawing/2014/main" id="{FC05E7E8-9B3A-E0BD-374A-5A45DB165885}"/>
                  </a:ext>
                </a:extLst>
              </p:cNvPr>
              <p:cNvSpPr/>
              <p:nvPr/>
            </p:nvSpPr>
            <p:spPr>
              <a:xfrm>
                <a:off x="3994150" y="3293770"/>
                <a:ext cx="153596" cy="211598"/>
              </a:xfrm>
              <a:custGeom>
                <a:avLst/>
                <a:gdLst>
                  <a:gd name="connsiteX0" fmla="*/ 86452 w 153596"/>
                  <a:gd name="connsiteY0" fmla="*/ 16857 h 211598"/>
                  <a:gd name="connsiteX1" fmla="*/ 86452 w 153596"/>
                  <a:gd name="connsiteY1" fmla="*/ 211599 h 211598"/>
                  <a:gd name="connsiteX2" fmla="*/ 67145 w 153596"/>
                  <a:gd name="connsiteY2" fmla="*/ 211599 h 211598"/>
                  <a:gd name="connsiteX3" fmla="*/ 67145 w 153596"/>
                  <a:gd name="connsiteY3" fmla="*/ 16857 h 211598"/>
                  <a:gd name="connsiteX4" fmla="*/ 0 w 153596"/>
                  <a:gd name="connsiteY4" fmla="*/ 16857 h 211598"/>
                  <a:gd name="connsiteX5" fmla="*/ 0 w 153596"/>
                  <a:gd name="connsiteY5" fmla="*/ 0 h 211598"/>
                  <a:gd name="connsiteX6" fmla="*/ 153597 w 153596"/>
                  <a:gd name="connsiteY6" fmla="*/ 0 h 211598"/>
                  <a:gd name="connsiteX7" fmla="*/ 153597 w 153596"/>
                  <a:gd name="connsiteY7" fmla="*/ 16764 h 211598"/>
                  <a:gd name="connsiteX8" fmla="*/ 86452 w 153596"/>
                  <a:gd name="connsiteY8" fmla="*/ 16764 h 21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596" h="211598">
                    <a:moveTo>
                      <a:pt x="86452" y="16857"/>
                    </a:moveTo>
                    <a:lnTo>
                      <a:pt x="86452" y="211599"/>
                    </a:lnTo>
                    <a:lnTo>
                      <a:pt x="67145" y="211599"/>
                    </a:lnTo>
                    <a:lnTo>
                      <a:pt x="67145" y="16857"/>
                    </a:lnTo>
                    <a:lnTo>
                      <a:pt x="0" y="16857"/>
                    </a:lnTo>
                    <a:lnTo>
                      <a:pt x="0" y="0"/>
                    </a:lnTo>
                    <a:lnTo>
                      <a:pt x="153597" y="0"/>
                    </a:lnTo>
                    <a:lnTo>
                      <a:pt x="153597" y="16764"/>
                    </a:lnTo>
                    <a:lnTo>
                      <a:pt x="86452" y="16764"/>
                    </a:lnTo>
                    <a:close/>
                  </a:path>
                </a:pathLst>
              </a:custGeom>
              <a:grpFill/>
              <a:ln w="9503" cap="flat">
                <a:noFill/>
                <a:prstDash val="solid"/>
                <a:miter/>
              </a:ln>
            </p:spPr>
            <p:txBody>
              <a:bodyPr rtlCol="0" anchor="ctr"/>
              <a:lstStyle/>
              <a:p>
                <a:endParaRPr lang="en-DK"/>
              </a:p>
            </p:txBody>
          </p:sp>
          <p:sp>
            <p:nvSpPr>
              <p:cNvPr id="23" name="Freeform 22">
                <a:extLst>
                  <a:ext uri="{FF2B5EF4-FFF2-40B4-BE49-F238E27FC236}">
                    <a16:creationId xmlns:a16="http://schemas.microsoft.com/office/drawing/2014/main" id="{04A66D00-894A-E5B4-FEE6-1BA1EBB021D9}"/>
                  </a:ext>
                </a:extLst>
              </p:cNvPr>
              <p:cNvSpPr/>
              <p:nvPr/>
            </p:nvSpPr>
            <p:spPr>
              <a:xfrm>
                <a:off x="4182936" y="3289300"/>
                <a:ext cx="113461" cy="216162"/>
              </a:xfrm>
              <a:custGeom>
                <a:avLst/>
                <a:gdLst>
                  <a:gd name="connsiteX0" fmla="*/ 94726 w 113461"/>
                  <a:gd name="connsiteY0" fmla="*/ 216069 h 216162"/>
                  <a:gd name="connsiteX1" fmla="*/ 94726 w 113461"/>
                  <a:gd name="connsiteY1" fmla="*/ 120701 h 216162"/>
                  <a:gd name="connsiteX2" fmla="*/ 58586 w 113461"/>
                  <a:gd name="connsiteY2" fmla="*/ 78418 h 216162"/>
                  <a:gd name="connsiteX3" fmla="*/ 18736 w 113461"/>
                  <a:gd name="connsiteY3" fmla="*/ 102726 h 216162"/>
                  <a:gd name="connsiteX4" fmla="*/ 18736 w 113461"/>
                  <a:gd name="connsiteY4" fmla="*/ 216162 h 216162"/>
                  <a:gd name="connsiteX5" fmla="*/ 0 w 113461"/>
                  <a:gd name="connsiteY5" fmla="*/ 216162 h 216162"/>
                  <a:gd name="connsiteX6" fmla="*/ 0 w 113461"/>
                  <a:gd name="connsiteY6" fmla="*/ 0 h 216162"/>
                  <a:gd name="connsiteX7" fmla="*/ 18736 w 113461"/>
                  <a:gd name="connsiteY7" fmla="*/ 0 h 216162"/>
                  <a:gd name="connsiteX8" fmla="*/ 18736 w 113461"/>
                  <a:gd name="connsiteY8" fmla="*/ 84658 h 216162"/>
                  <a:gd name="connsiteX9" fmla="*/ 62580 w 113461"/>
                  <a:gd name="connsiteY9" fmla="*/ 62772 h 216162"/>
                  <a:gd name="connsiteX10" fmla="*/ 113462 w 113461"/>
                  <a:gd name="connsiteY10" fmla="*/ 122191 h 216162"/>
                  <a:gd name="connsiteX11" fmla="*/ 113462 w 113461"/>
                  <a:gd name="connsiteY11" fmla="*/ 216162 h 216162"/>
                  <a:gd name="connsiteX12" fmla="*/ 94726 w 113461"/>
                  <a:gd name="connsiteY12" fmla="*/ 216162 h 21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461" h="216162">
                    <a:moveTo>
                      <a:pt x="94726" y="216069"/>
                    </a:moveTo>
                    <a:lnTo>
                      <a:pt x="94726" y="120701"/>
                    </a:lnTo>
                    <a:cubicBezTo>
                      <a:pt x="94726" y="93133"/>
                      <a:pt x="83694" y="78418"/>
                      <a:pt x="58586" y="78418"/>
                    </a:cubicBezTo>
                    <a:cubicBezTo>
                      <a:pt x="39850" y="78418"/>
                      <a:pt x="26725" y="90991"/>
                      <a:pt x="18736" y="102726"/>
                    </a:cubicBezTo>
                    <a:lnTo>
                      <a:pt x="18736" y="216162"/>
                    </a:lnTo>
                    <a:lnTo>
                      <a:pt x="0" y="216162"/>
                    </a:lnTo>
                    <a:lnTo>
                      <a:pt x="0" y="0"/>
                    </a:lnTo>
                    <a:lnTo>
                      <a:pt x="18736" y="0"/>
                    </a:lnTo>
                    <a:lnTo>
                      <a:pt x="18736" y="84658"/>
                    </a:lnTo>
                    <a:cubicBezTo>
                      <a:pt x="28532" y="71713"/>
                      <a:pt x="43844" y="62772"/>
                      <a:pt x="62580" y="62772"/>
                    </a:cubicBezTo>
                    <a:cubicBezTo>
                      <a:pt x="101193" y="62772"/>
                      <a:pt x="113462" y="86800"/>
                      <a:pt x="113462" y="122191"/>
                    </a:cubicBezTo>
                    <a:lnTo>
                      <a:pt x="113462" y="216162"/>
                    </a:lnTo>
                    <a:lnTo>
                      <a:pt x="94726" y="216162"/>
                    </a:lnTo>
                    <a:close/>
                  </a:path>
                </a:pathLst>
              </a:custGeom>
              <a:grpFill/>
              <a:ln w="9503" cap="flat">
                <a:noFill/>
                <a:prstDash val="solid"/>
                <a:miter/>
              </a:ln>
            </p:spPr>
            <p:txBody>
              <a:bodyPr rtlCol="0" anchor="ctr"/>
              <a:lstStyle/>
              <a:p>
                <a:endParaRPr lang="en-DK"/>
              </a:p>
            </p:txBody>
          </p:sp>
          <p:sp>
            <p:nvSpPr>
              <p:cNvPr id="24" name="Freeform 23">
                <a:extLst>
                  <a:ext uri="{FF2B5EF4-FFF2-40B4-BE49-F238E27FC236}">
                    <a16:creationId xmlns:a16="http://schemas.microsoft.com/office/drawing/2014/main" id="{2EA521C2-47BD-3C8F-8530-C99958B67028}"/>
                  </a:ext>
                </a:extLst>
              </p:cNvPr>
              <p:cNvSpPr/>
              <p:nvPr/>
            </p:nvSpPr>
            <p:spPr>
              <a:xfrm>
                <a:off x="4338434"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25" name="Freeform 24">
                <a:extLst>
                  <a:ext uri="{FF2B5EF4-FFF2-40B4-BE49-F238E27FC236}">
                    <a16:creationId xmlns:a16="http://schemas.microsoft.com/office/drawing/2014/main" id="{1087F031-CAD1-0EC1-ED2D-77B43F673802}"/>
                  </a:ext>
                </a:extLst>
              </p:cNvPr>
              <p:cNvSpPr/>
              <p:nvPr/>
            </p:nvSpPr>
            <p:spPr>
              <a:xfrm>
                <a:off x="4595317" y="3352071"/>
                <a:ext cx="123828" cy="213368"/>
              </a:xfrm>
              <a:custGeom>
                <a:avLst/>
                <a:gdLst>
                  <a:gd name="connsiteX0" fmla="*/ 62865 w 123828"/>
                  <a:gd name="connsiteY0" fmla="*/ 156650 h 213368"/>
                  <a:gd name="connsiteX1" fmla="*/ 19687 w 123828"/>
                  <a:gd name="connsiteY1" fmla="*/ 138676 h 213368"/>
                  <a:gd name="connsiteX2" fmla="*/ 19687 w 123828"/>
                  <a:gd name="connsiteY2" fmla="*/ 213368 h 213368"/>
                  <a:gd name="connsiteX3" fmla="*/ 951 w 123828"/>
                  <a:gd name="connsiteY3" fmla="*/ 213368 h 213368"/>
                  <a:gd name="connsiteX4" fmla="*/ 951 w 123828"/>
                  <a:gd name="connsiteY4" fmla="*/ 31479 h 213368"/>
                  <a:gd name="connsiteX5" fmla="*/ 0 w 123828"/>
                  <a:gd name="connsiteY5" fmla="*/ 3260 h 213368"/>
                  <a:gd name="connsiteX6" fmla="*/ 15597 w 123828"/>
                  <a:gd name="connsiteY6" fmla="*/ 3260 h 213368"/>
                  <a:gd name="connsiteX7" fmla="*/ 17119 w 123828"/>
                  <a:gd name="connsiteY7" fmla="*/ 26077 h 213368"/>
                  <a:gd name="connsiteX8" fmla="*/ 65243 w 123828"/>
                  <a:gd name="connsiteY8" fmla="*/ 0 h 213368"/>
                  <a:gd name="connsiteX9" fmla="*/ 123828 w 123828"/>
                  <a:gd name="connsiteY9" fmla="*/ 76835 h 213368"/>
                  <a:gd name="connsiteX10" fmla="*/ 62865 w 123828"/>
                  <a:gd name="connsiteY10" fmla="*/ 156650 h 213368"/>
                  <a:gd name="connsiteX11" fmla="*/ 61058 w 123828"/>
                  <a:gd name="connsiteY11" fmla="*/ 15274 h 213368"/>
                  <a:gd name="connsiteX12" fmla="*/ 19687 w 123828"/>
                  <a:gd name="connsiteY12" fmla="*/ 42003 h 213368"/>
                  <a:gd name="connsiteX13" fmla="*/ 19687 w 123828"/>
                  <a:gd name="connsiteY13" fmla="*/ 123309 h 213368"/>
                  <a:gd name="connsiteX14" fmla="*/ 58300 w 123828"/>
                  <a:gd name="connsiteY14" fmla="*/ 141283 h 213368"/>
                  <a:gd name="connsiteX15" fmla="*/ 104237 w 123828"/>
                  <a:gd name="connsiteY15" fmla="*/ 78232 h 213368"/>
                  <a:gd name="connsiteX16" fmla="*/ 61058 w 123828"/>
                  <a:gd name="connsiteY16" fmla="*/ 15181 h 21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828" h="213368">
                    <a:moveTo>
                      <a:pt x="62865" y="156650"/>
                    </a:moveTo>
                    <a:cubicBezTo>
                      <a:pt x="44129" y="156650"/>
                      <a:pt x="28817" y="149758"/>
                      <a:pt x="19687" y="138676"/>
                    </a:cubicBezTo>
                    <a:lnTo>
                      <a:pt x="19687" y="213368"/>
                    </a:lnTo>
                    <a:lnTo>
                      <a:pt x="951" y="213368"/>
                    </a:lnTo>
                    <a:lnTo>
                      <a:pt x="951" y="31479"/>
                    </a:lnTo>
                    <a:cubicBezTo>
                      <a:pt x="951" y="24308"/>
                      <a:pt x="380" y="9872"/>
                      <a:pt x="0" y="3260"/>
                    </a:cubicBezTo>
                    <a:lnTo>
                      <a:pt x="15597" y="3260"/>
                    </a:lnTo>
                    <a:lnTo>
                      <a:pt x="17119" y="26077"/>
                    </a:lnTo>
                    <a:cubicBezTo>
                      <a:pt x="27200" y="13132"/>
                      <a:pt x="40420" y="0"/>
                      <a:pt x="65243" y="0"/>
                    </a:cubicBezTo>
                    <a:cubicBezTo>
                      <a:pt x="102334" y="0"/>
                      <a:pt x="123828" y="32131"/>
                      <a:pt x="123828" y="76835"/>
                    </a:cubicBezTo>
                    <a:cubicBezTo>
                      <a:pt x="123828" y="121539"/>
                      <a:pt x="102049" y="156650"/>
                      <a:pt x="62865" y="156650"/>
                    </a:cubicBezTo>
                    <a:close/>
                    <a:moveTo>
                      <a:pt x="61058" y="15274"/>
                    </a:moveTo>
                    <a:cubicBezTo>
                      <a:pt x="40515" y="15274"/>
                      <a:pt x="26440" y="32410"/>
                      <a:pt x="19687" y="42003"/>
                    </a:cubicBezTo>
                    <a:lnTo>
                      <a:pt x="19687" y="123309"/>
                    </a:lnTo>
                    <a:cubicBezTo>
                      <a:pt x="28247" y="132622"/>
                      <a:pt x="39564" y="141283"/>
                      <a:pt x="58300" y="141283"/>
                    </a:cubicBezTo>
                    <a:cubicBezTo>
                      <a:pt x="83123" y="141283"/>
                      <a:pt x="104237" y="121446"/>
                      <a:pt x="104237" y="78232"/>
                    </a:cubicBezTo>
                    <a:cubicBezTo>
                      <a:pt x="104237" y="35018"/>
                      <a:pt x="86166" y="15181"/>
                      <a:pt x="61058" y="15181"/>
                    </a:cubicBezTo>
                    <a:close/>
                  </a:path>
                </a:pathLst>
              </a:custGeom>
              <a:grpFill/>
              <a:ln w="9503" cap="flat">
                <a:noFill/>
                <a:prstDash val="solid"/>
                <a:miter/>
              </a:ln>
            </p:spPr>
            <p:txBody>
              <a:bodyPr rtlCol="0" anchor="ctr"/>
              <a:lstStyle/>
              <a:p>
                <a:endParaRPr lang="en-DK"/>
              </a:p>
            </p:txBody>
          </p:sp>
          <p:sp>
            <p:nvSpPr>
              <p:cNvPr id="26" name="Freeform 25">
                <a:extLst>
                  <a:ext uri="{FF2B5EF4-FFF2-40B4-BE49-F238E27FC236}">
                    <a16:creationId xmlns:a16="http://schemas.microsoft.com/office/drawing/2014/main" id="{36E5E479-2B03-5B15-D595-C9446B90C86C}"/>
                  </a:ext>
                </a:extLst>
              </p:cNvPr>
              <p:cNvSpPr/>
              <p:nvPr/>
            </p:nvSpPr>
            <p:spPr>
              <a:xfrm>
                <a:off x="4752813" y="3351978"/>
                <a:ext cx="136762" cy="156743"/>
              </a:xfrm>
              <a:custGeom>
                <a:avLst/>
                <a:gdLst>
                  <a:gd name="connsiteX0" fmla="*/ 68381 w 136762"/>
                  <a:gd name="connsiteY0" fmla="*/ 156743 h 156743"/>
                  <a:gd name="connsiteX1" fmla="*/ 0 w 136762"/>
                  <a:gd name="connsiteY1" fmla="*/ 77766 h 156743"/>
                  <a:gd name="connsiteX2" fmla="*/ 68381 w 136762"/>
                  <a:gd name="connsiteY2" fmla="*/ 0 h 156743"/>
                  <a:gd name="connsiteX3" fmla="*/ 136763 w 136762"/>
                  <a:gd name="connsiteY3" fmla="*/ 77766 h 156743"/>
                  <a:gd name="connsiteX4" fmla="*/ 68381 w 136762"/>
                  <a:gd name="connsiteY4" fmla="*/ 156743 h 156743"/>
                  <a:gd name="connsiteX5" fmla="*/ 68381 w 136762"/>
                  <a:gd name="connsiteY5" fmla="*/ 15367 h 156743"/>
                  <a:gd name="connsiteX6" fmla="*/ 19687 w 136762"/>
                  <a:gd name="connsiteY6" fmla="*/ 77766 h 156743"/>
                  <a:gd name="connsiteX7" fmla="*/ 68381 w 136762"/>
                  <a:gd name="connsiteY7" fmla="*/ 141376 h 156743"/>
                  <a:gd name="connsiteX8" fmla="*/ 117076 w 136762"/>
                  <a:gd name="connsiteY8" fmla="*/ 77766 h 156743"/>
                  <a:gd name="connsiteX9" fmla="*/ 68381 w 136762"/>
                  <a:gd name="connsiteY9" fmla="*/ 15367 h 15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2" h="156743">
                    <a:moveTo>
                      <a:pt x="68381" y="156743"/>
                    </a:moveTo>
                    <a:cubicBezTo>
                      <a:pt x="21494" y="156743"/>
                      <a:pt x="0" y="120701"/>
                      <a:pt x="0" y="77766"/>
                    </a:cubicBezTo>
                    <a:cubicBezTo>
                      <a:pt x="0" y="34832"/>
                      <a:pt x="22635" y="0"/>
                      <a:pt x="68381" y="0"/>
                    </a:cubicBezTo>
                    <a:cubicBezTo>
                      <a:pt x="114128" y="0"/>
                      <a:pt x="136763" y="36043"/>
                      <a:pt x="136763" y="77766"/>
                    </a:cubicBezTo>
                    <a:cubicBezTo>
                      <a:pt x="136763" y="119490"/>
                      <a:pt x="116220" y="156743"/>
                      <a:pt x="68381" y="156743"/>
                    </a:cubicBezTo>
                    <a:close/>
                    <a:moveTo>
                      <a:pt x="68381" y="15367"/>
                    </a:moveTo>
                    <a:cubicBezTo>
                      <a:pt x="36806" y="15367"/>
                      <a:pt x="19687" y="41817"/>
                      <a:pt x="19687" y="77766"/>
                    </a:cubicBezTo>
                    <a:cubicBezTo>
                      <a:pt x="19687" y="113716"/>
                      <a:pt x="35665" y="141376"/>
                      <a:pt x="68381" y="141376"/>
                    </a:cubicBezTo>
                    <a:cubicBezTo>
                      <a:pt x="101098" y="141376"/>
                      <a:pt x="117076" y="114088"/>
                      <a:pt x="117076" y="77766"/>
                    </a:cubicBezTo>
                    <a:cubicBezTo>
                      <a:pt x="117076" y="41444"/>
                      <a:pt x="100813" y="15367"/>
                      <a:pt x="68381" y="15367"/>
                    </a:cubicBezTo>
                    <a:close/>
                  </a:path>
                </a:pathLst>
              </a:custGeom>
              <a:grpFill/>
              <a:ln w="9503" cap="flat">
                <a:noFill/>
                <a:prstDash val="solid"/>
                <a:miter/>
              </a:ln>
            </p:spPr>
            <p:txBody>
              <a:bodyPr rtlCol="0" anchor="ctr"/>
              <a:lstStyle/>
              <a:p>
                <a:endParaRPr lang="en-DK"/>
              </a:p>
            </p:txBody>
          </p:sp>
          <p:sp>
            <p:nvSpPr>
              <p:cNvPr id="27" name="Freeform 26">
                <a:extLst>
                  <a:ext uri="{FF2B5EF4-FFF2-40B4-BE49-F238E27FC236}">
                    <a16:creationId xmlns:a16="http://schemas.microsoft.com/office/drawing/2014/main" id="{3EC0F744-C3BF-E0EA-2832-3DD9CB662425}"/>
                  </a:ext>
                </a:extLst>
              </p:cNvPr>
              <p:cNvSpPr/>
              <p:nvPr/>
            </p:nvSpPr>
            <p:spPr>
              <a:xfrm>
                <a:off x="4912686" y="3355331"/>
                <a:ext cx="210089" cy="150037"/>
              </a:xfrm>
              <a:custGeom>
                <a:avLst/>
                <a:gdLst>
                  <a:gd name="connsiteX0" fmla="*/ 165390 w 210089"/>
                  <a:gd name="connsiteY0" fmla="*/ 150038 h 150037"/>
                  <a:gd name="connsiteX1" fmla="*/ 141518 w 210089"/>
                  <a:gd name="connsiteY1" fmla="*/ 150038 h 150037"/>
                  <a:gd name="connsiteX2" fmla="*/ 115174 w 210089"/>
                  <a:gd name="connsiteY2" fmla="*/ 60909 h 150037"/>
                  <a:gd name="connsiteX3" fmla="*/ 105092 w 210089"/>
                  <a:gd name="connsiteY3" fmla="*/ 23376 h 150037"/>
                  <a:gd name="connsiteX4" fmla="*/ 95011 w 210089"/>
                  <a:gd name="connsiteY4" fmla="*/ 60909 h 150037"/>
                  <a:gd name="connsiteX5" fmla="*/ 67716 w 210089"/>
                  <a:gd name="connsiteY5" fmla="*/ 150038 h 150037"/>
                  <a:gd name="connsiteX6" fmla="*/ 44129 w 210089"/>
                  <a:gd name="connsiteY6" fmla="*/ 150038 h 150037"/>
                  <a:gd name="connsiteX7" fmla="*/ 0 w 210089"/>
                  <a:gd name="connsiteY7" fmla="*/ 0 h 150037"/>
                  <a:gd name="connsiteX8" fmla="*/ 19877 w 210089"/>
                  <a:gd name="connsiteY8" fmla="*/ 0 h 150037"/>
                  <a:gd name="connsiteX9" fmla="*/ 48029 w 210089"/>
                  <a:gd name="connsiteY9" fmla="*/ 95741 h 150037"/>
                  <a:gd name="connsiteX10" fmla="*/ 56588 w 210089"/>
                  <a:gd name="connsiteY10" fmla="*/ 129921 h 150037"/>
                  <a:gd name="connsiteX11" fmla="*/ 65814 w 210089"/>
                  <a:gd name="connsiteY11" fmla="*/ 95741 h 150037"/>
                  <a:gd name="connsiteX12" fmla="*/ 94631 w 210089"/>
                  <a:gd name="connsiteY12" fmla="*/ 0 h 150037"/>
                  <a:gd name="connsiteX13" fmla="*/ 116410 w 210089"/>
                  <a:gd name="connsiteY13" fmla="*/ 0 h 150037"/>
                  <a:gd name="connsiteX14" fmla="*/ 145227 w 210089"/>
                  <a:gd name="connsiteY14" fmla="*/ 95741 h 150037"/>
                  <a:gd name="connsiteX15" fmla="*/ 154072 w 210089"/>
                  <a:gd name="connsiteY15" fmla="*/ 129921 h 150037"/>
                  <a:gd name="connsiteX16" fmla="*/ 162917 w 210089"/>
                  <a:gd name="connsiteY16" fmla="*/ 95741 h 150037"/>
                  <a:gd name="connsiteX17" fmla="*/ 191734 w 210089"/>
                  <a:gd name="connsiteY17" fmla="*/ 0 h 150037"/>
                  <a:gd name="connsiteX18" fmla="*/ 210090 w 210089"/>
                  <a:gd name="connsiteY18" fmla="*/ 0 h 150037"/>
                  <a:gd name="connsiteX19" fmla="*/ 165295 w 210089"/>
                  <a:gd name="connsiteY19" fmla="*/ 150038 h 15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089" h="150037">
                    <a:moveTo>
                      <a:pt x="165390" y="150038"/>
                    </a:moveTo>
                    <a:lnTo>
                      <a:pt x="141518" y="150038"/>
                    </a:lnTo>
                    <a:lnTo>
                      <a:pt x="115174" y="60909"/>
                    </a:lnTo>
                    <a:cubicBezTo>
                      <a:pt x="111179" y="47125"/>
                      <a:pt x="105092" y="23376"/>
                      <a:pt x="105092" y="23376"/>
                    </a:cubicBezTo>
                    <a:cubicBezTo>
                      <a:pt x="105092" y="23376"/>
                      <a:pt x="99291" y="46474"/>
                      <a:pt x="95011" y="60909"/>
                    </a:cubicBezTo>
                    <a:lnTo>
                      <a:pt x="67716" y="150038"/>
                    </a:lnTo>
                    <a:lnTo>
                      <a:pt x="44129" y="150038"/>
                    </a:lnTo>
                    <a:lnTo>
                      <a:pt x="0" y="0"/>
                    </a:lnTo>
                    <a:lnTo>
                      <a:pt x="19877" y="0"/>
                    </a:lnTo>
                    <a:lnTo>
                      <a:pt x="48029" y="95741"/>
                    </a:lnTo>
                    <a:cubicBezTo>
                      <a:pt x="51738" y="108314"/>
                      <a:pt x="56588" y="129921"/>
                      <a:pt x="56588" y="129921"/>
                    </a:cubicBezTo>
                    <a:cubicBezTo>
                      <a:pt x="56588" y="129921"/>
                      <a:pt x="62104" y="108314"/>
                      <a:pt x="65814" y="95741"/>
                    </a:cubicBezTo>
                    <a:lnTo>
                      <a:pt x="94631" y="0"/>
                    </a:lnTo>
                    <a:lnTo>
                      <a:pt x="116410" y="0"/>
                    </a:lnTo>
                    <a:lnTo>
                      <a:pt x="145227" y="95741"/>
                    </a:lnTo>
                    <a:cubicBezTo>
                      <a:pt x="149222" y="109245"/>
                      <a:pt x="154072" y="129921"/>
                      <a:pt x="154072" y="129921"/>
                    </a:cubicBezTo>
                    <a:cubicBezTo>
                      <a:pt x="154072" y="129921"/>
                      <a:pt x="159018" y="108873"/>
                      <a:pt x="162917" y="95741"/>
                    </a:cubicBezTo>
                    <a:lnTo>
                      <a:pt x="191734" y="0"/>
                    </a:lnTo>
                    <a:lnTo>
                      <a:pt x="210090" y="0"/>
                    </a:lnTo>
                    <a:lnTo>
                      <a:pt x="165295" y="150038"/>
                    </a:lnTo>
                    <a:close/>
                  </a:path>
                </a:pathLst>
              </a:custGeom>
              <a:grpFill/>
              <a:ln w="9503" cap="flat">
                <a:noFill/>
                <a:prstDash val="solid"/>
                <a:miter/>
              </a:ln>
            </p:spPr>
            <p:txBody>
              <a:bodyPr rtlCol="0" anchor="ctr"/>
              <a:lstStyle/>
              <a:p>
                <a:endParaRPr lang="en-DK"/>
              </a:p>
            </p:txBody>
          </p:sp>
          <p:sp>
            <p:nvSpPr>
              <p:cNvPr id="28" name="Freeform 27">
                <a:extLst>
                  <a:ext uri="{FF2B5EF4-FFF2-40B4-BE49-F238E27FC236}">
                    <a16:creationId xmlns:a16="http://schemas.microsoft.com/office/drawing/2014/main" id="{85FC938C-F4AB-8D9A-C61D-F43BF250D013}"/>
                  </a:ext>
                </a:extLst>
              </p:cNvPr>
              <p:cNvSpPr/>
              <p:nvPr/>
            </p:nvSpPr>
            <p:spPr>
              <a:xfrm>
                <a:off x="5146838"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29" name="Freeform 28">
                <a:extLst>
                  <a:ext uri="{FF2B5EF4-FFF2-40B4-BE49-F238E27FC236}">
                    <a16:creationId xmlns:a16="http://schemas.microsoft.com/office/drawing/2014/main" id="{9EEA1DE7-79C3-37E8-2071-E6B79A796ACE}"/>
                  </a:ext>
                </a:extLst>
              </p:cNvPr>
              <p:cNvSpPr/>
              <p:nvPr/>
            </p:nvSpPr>
            <p:spPr>
              <a:xfrm>
                <a:off x="5314796" y="3351978"/>
                <a:ext cx="81506" cy="153390"/>
              </a:xfrm>
              <a:custGeom>
                <a:avLst/>
                <a:gdLst>
                  <a:gd name="connsiteX0" fmla="*/ 76370 w 81506"/>
                  <a:gd name="connsiteY0" fmla="*/ 21700 h 153390"/>
                  <a:gd name="connsiteX1" fmla="*/ 59822 w 81506"/>
                  <a:gd name="connsiteY1" fmla="*/ 17509 h 153390"/>
                  <a:gd name="connsiteX2" fmla="*/ 19687 w 81506"/>
                  <a:gd name="connsiteY2" fmla="*/ 46287 h 153390"/>
                  <a:gd name="connsiteX3" fmla="*/ 19687 w 81506"/>
                  <a:gd name="connsiteY3" fmla="*/ 153391 h 153390"/>
                  <a:gd name="connsiteX4" fmla="*/ 951 w 81506"/>
                  <a:gd name="connsiteY4" fmla="*/ 153391 h 153390"/>
                  <a:gd name="connsiteX5" fmla="*/ 951 w 81506"/>
                  <a:gd name="connsiteY5" fmla="*/ 30641 h 153390"/>
                  <a:gd name="connsiteX6" fmla="*/ 0 w 81506"/>
                  <a:gd name="connsiteY6" fmla="*/ 3353 h 153390"/>
                  <a:gd name="connsiteX7" fmla="*/ 15027 w 81506"/>
                  <a:gd name="connsiteY7" fmla="*/ 3353 h 153390"/>
                  <a:gd name="connsiteX8" fmla="*/ 16834 w 81506"/>
                  <a:gd name="connsiteY8" fmla="*/ 28219 h 153390"/>
                  <a:gd name="connsiteX9" fmla="*/ 63721 w 81506"/>
                  <a:gd name="connsiteY9" fmla="*/ 0 h 153390"/>
                  <a:gd name="connsiteX10" fmla="*/ 81506 w 81506"/>
                  <a:gd name="connsiteY10" fmla="*/ 2701 h 153390"/>
                  <a:gd name="connsiteX11" fmla="*/ 76275 w 81506"/>
                  <a:gd name="connsiteY11" fmla="*/ 21607 h 15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506" h="153390">
                    <a:moveTo>
                      <a:pt x="76370" y="21700"/>
                    </a:moveTo>
                    <a:cubicBezTo>
                      <a:pt x="71425" y="18999"/>
                      <a:pt x="66289" y="17509"/>
                      <a:pt x="59822" y="17509"/>
                    </a:cubicBezTo>
                    <a:cubicBezTo>
                      <a:pt x="41086" y="17509"/>
                      <a:pt x="29768" y="28871"/>
                      <a:pt x="19687" y="46287"/>
                    </a:cubicBezTo>
                    <a:lnTo>
                      <a:pt x="19687" y="153391"/>
                    </a:lnTo>
                    <a:lnTo>
                      <a:pt x="951" y="153391"/>
                    </a:lnTo>
                    <a:lnTo>
                      <a:pt x="951" y="30641"/>
                    </a:lnTo>
                    <a:cubicBezTo>
                      <a:pt x="951" y="25519"/>
                      <a:pt x="380" y="8475"/>
                      <a:pt x="0" y="3353"/>
                    </a:cubicBezTo>
                    <a:lnTo>
                      <a:pt x="15027" y="3353"/>
                    </a:lnTo>
                    <a:lnTo>
                      <a:pt x="16834" y="28219"/>
                    </a:lnTo>
                    <a:cubicBezTo>
                      <a:pt x="26059" y="11083"/>
                      <a:pt x="41371" y="0"/>
                      <a:pt x="63721" y="0"/>
                    </a:cubicBezTo>
                    <a:cubicBezTo>
                      <a:pt x="70189" y="0"/>
                      <a:pt x="76275" y="931"/>
                      <a:pt x="81506" y="2701"/>
                    </a:cubicBezTo>
                    <a:lnTo>
                      <a:pt x="76275" y="21607"/>
                    </a:lnTo>
                    <a:close/>
                  </a:path>
                </a:pathLst>
              </a:custGeom>
              <a:grpFill/>
              <a:ln w="9503" cap="flat">
                <a:noFill/>
                <a:prstDash val="solid"/>
                <a:miter/>
              </a:ln>
            </p:spPr>
            <p:txBody>
              <a:bodyPr rtlCol="0" anchor="ctr"/>
              <a:lstStyle/>
              <a:p>
                <a:endParaRPr lang="en-DK"/>
              </a:p>
            </p:txBody>
          </p:sp>
          <p:sp>
            <p:nvSpPr>
              <p:cNvPr id="30" name="Freeform 29">
                <a:extLst>
                  <a:ext uri="{FF2B5EF4-FFF2-40B4-BE49-F238E27FC236}">
                    <a16:creationId xmlns:a16="http://schemas.microsoft.com/office/drawing/2014/main" id="{A7FA9EE3-62BE-B497-9353-AD87C6F7ED7C}"/>
                  </a:ext>
                </a:extLst>
              </p:cNvPr>
              <p:cNvSpPr/>
              <p:nvPr/>
            </p:nvSpPr>
            <p:spPr>
              <a:xfrm>
                <a:off x="5510715" y="3289300"/>
                <a:ext cx="123923" cy="219422"/>
              </a:xfrm>
              <a:custGeom>
                <a:avLst/>
                <a:gdLst>
                  <a:gd name="connsiteX0" fmla="*/ 63436 w 123923"/>
                  <a:gd name="connsiteY0" fmla="*/ 219422 h 219422"/>
                  <a:gd name="connsiteX1" fmla="*/ 17119 w 123923"/>
                  <a:gd name="connsiteY1" fmla="*/ 199026 h 219422"/>
                  <a:gd name="connsiteX2" fmla="*/ 15597 w 123923"/>
                  <a:gd name="connsiteY2" fmla="*/ 216162 h 219422"/>
                  <a:gd name="connsiteX3" fmla="*/ 0 w 123923"/>
                  <a:gd name="connsiteY3" fmla="*/ 216162 h 219422"/>
                  <a:gd name="connsiteX4" fmla="*/ 951 w 123923"/>
                  <a:gd name="connsiteY4" fmla="*/ 187943 h 219422"/>
                  <a:gd name="connsiteX5" fmla="*/ 951 w 123923"/>
                  <a:gd name="connsiteY5" fmla="*/ 0 h 219422"/>
                  <a:gd name="connsiteX6" fmla="*/ 19687 w 123923"/>
                  <a:gd name="connsiteY6" fmla="*/ 0 h 219422"/>
                  <a:gd name="connsiteX7" fmla="*/ 19687 w 123923"/>
                  <a:gd name="connsiteY7" fmla="*/ 86707 h 219422"/>
                  <a:gd name="connsiteX8" fmla="*/ 65053 w 123923"/>
                  <a:gd name="connsiteY8" fmla="*/ 62679 h 219422"/>
                  <a:gd name="connsiteX9" fmla="*/ 123924 w 123923"/>
                  <a:gd name="connsiteY9" fmla="*/ 140445 h 219422"/>
                  <a:gd name="connsiteX10" fmla="*/ 63531 w 123923"/>
                  <a:gd name="connsiteY10" fmla="*/ 219422 h 219422"/>
                  <a:gd name="connsiteX11" fmla="*/ 60963 w 123923"/>
                  <a:gd name="connsiteY11" fmla="*/ 78046 h 219422"/>
                  <a:gd name="connsiteX12" fmla="*/ 19592 w 123923"/>
                  <a:gd name="connsiteY12" fmla="*/ 105334 h 219422"/>
                  <a:gd name="connsiteX13" fmla="*/ 19592 w 123923"/>
                  <a:gd name="connsiteY13" fmla="*/ 186080 h 219422"/>
                  <a:gd name="connsiteX14" fmla="*/ 58776 w 123923"/>
                  <a:gd name="connsiteY14" fmla="*/ 204055 h 219422"/>
                  <a:gd name="connsiteX15" fmla="*/ 104141 w 123923"/>
                  <a:gd name="connsiteY15" fmla="*/ 141004 h 219422"/>
                  <a:gd name="connsiteX16" fmla="*/ 60963 w 123923"/>
                  <a:gd name="connsiteY16" fmla="*/ 77953 h 21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923" h="219422">
                    <a:moveTo>
                      <a:pt x="63436" y="219422"/>
                    </a:moveTo>
                    <a:cubicBezTo>
                      <a:pt x="41086" y="219422"/>
                      <a:pt x="27010" y="211040"/>
                      <a:pt x="17119" y="199026"/>
                    </a:cubicBezTo>
                    <a:lnTo>
                      <a:pt x="15597" y="216162"/>
                    </a:lnTo>
                    <a:lnTo>
                      <a:pt x="0" y="216162"/>
                    </a:lnTo>
                    <a:cubicBezTo>
                      <a:pt x="285" y="209550"/>
                      <a:pt x="951" y="195114"/>
                      <a:pt x="951" y="187943"/>
                    </a:cubicBezTo>
                    <a:lnTo>
                      <a:pt x="951" y="0"/>
                    </a:lnTo>
                    <a:lnTo>
                      <a:pt x="19687" y="0"/>
                    </a:lnTo>
                    <a:lnTo>
                      <a:pt x="19687" y="86707"/>
                    </a:lnTo>
                    <a:cubicBezTo>
                      <a:pt x="27961" y="75904"/>
                      <a:pt x="40801" y="62679"/>
                      <a:pt x="65053" y="62679"/>
                    </a:cubicBezTo>
                    <a:cubicBezTo>
                      <a:pt x="100908" y="62679"/>
                      <a:pt x="123924" y="92668"/>
                      <a:pt x="123924" y="140445"/>
                    </a:cubicBezTo>
                    <a:cubicBezTo>
                      <a:pt x="123924" y="184311"/>
                      <a:pt x="103381" y="219422"/>
                      <a:pt x="63531" y="219422"/>
                    </a:cubicBezTo>
                    <a:close/>
                    <a:moveTo>
                      <a:pt x="60963" y="78046"/>
                    </a:moveTo>
                    <a:cubicBezTo>
                      <a:pt x="39849" y="78046"/>
                      <a:pt x="26059" y="95462"/>
                      <a:pt x="19592" y="105334"/>
                    </a:cubicBezTo>
                    <a:lnTo>
                      <a:pt x="19592" y="186080"/>
                    </a:lnTo>
                    <a:cubicBezTo>
                      <a:pt x="29673" y="196325"/>
                      <a:pt x="39849" y="204055"/>
                      <a:pt x="58776" y="204055"/>
                    </a:cubicBezTo>
                    <a:cubicBezTo>
                      <a:pt x="85405" y="204055"/>
                      <a:pt x="104141" y="180679"/>
                      <a:pt x="104141" y="141004"/>
                    </a:cubicBezTo>
                    <a:cubicBezTo>
                      <a:pt x="104141" y="93878"/>
                      <a:pt x="82647" y="77953"/>
                      <a:pt x="60963" y="77953"/>
                    </a:cubicBezTo>
                    <a:close/>
                  </a:path>
                </a:pathLst>
              </a:custGeom>
              <a:grpFill/>
              <a:ln w="9503" cap="flat">
                <a:noFill/>
                <a:prstDash val="solid"/>
                <a:miter/>
              </a:ln>
            </p:spPr>
            <p:txBody>
              <a:bodyPr rtlCol="0" anchor="ctr"/>
              <a:lstStyle/>
              <a:p>
                <a:endParaRPr lang="en-DK"/>
              </a:p>
            </p:txBody>
          </p:sp>
          <p:sp>
            <p:nvSpPr>
              <p:cNvPr id="31" name="Freeform 30">
                <a:extLst>
                  <a:ext uri="{FF2B5EF4-FFF2-40B4-BE49-F238E27FC236}">
                    <a16:creationId xmlns:a16="http://schemas.microsoft.com/office/drawing/2014/main" id="{CF4E5184-758E-40C9-DC8A-349A4C315BE2}"/>
                  </a:ext>
                </a:extLst>
              </p:cNvPr>
              <p:cNvSpPr/>
              <p:nvPr/>
            </p:nvSpPr>
            <p:spPr>
              <a:xfrm>
                <a:off x="5668021"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32" name="Freeform 31">
                <a:extLst>
                  <a:ext uri="{FF2B5EF4-FFF2-40B4-BE49-F238E27FC236}">
                    <a16:creationId xmlns:a16="http://schemas.microsoft.com/office/drawing/2014/main" id="{30CDAAA9-0602-C4B2-4378-A4FF7D08554A}"/>
                  </a:ext>
                </a:extLst>
              </p:cNvPr>
              <p:cNvSpPr/>
              <p:nvPr/>
            </p:nvSpPr>
            <p:spPr>
              <a:xfrm>
                <a:off x="5836835" y="3289300"/>
                <a:ext cx="113461" cy="216162"/>
              </a:xfrm>
              <a:custGeom>
                <a:avLst/>
                <a:gdLst>
                  <a:gd name="connsiteX0" fmla="*/ 94726 w 113461"/>
                  <a:gd name="connsiteY0" fmla="*/ 216069 h 216162"/>
                  <a:gd name="connsiteX1" fmla="*/ 94726 w 113461"/>
                  <a:gd name="connsiteY1" fmla="*/ 120701 h 216162"/>
                  <a:gd name="connsiteX2" fmla="*/ 58586 w 113461"/>
                  <a:gd name="connsiteY2" fmla="*/ 78418 h 216162"/>
                  <a:gd name="connsiteX3" fmla="*/ 18736 w 113461"/>
                  <a:gd name="connsiteY3" fmla="*/ 102726 h 216162"/>
                  <a:gd name="connsiteX4" fmla="*/ 18736 w 113461"/>
                  <a:gd name="connsiteY4" fmla="*/ 216162 h 216162"/>
                  <a:gd name="connsiteX5" fmla="*/ 0 w 113461"/>
                  <a:gd name="connsiteY5" fmla="*/ 216162 h 216162"/>
                  <a:gd name="connsiteX6" fmla="*/ 0 w 113461"/>
                  <a:gd name="connsiteY6" fmla="*/ 0 h 216162"/>
                  <a:gd name="connsiteX7" fmla="*/ 18736 w 113461"/>
                  <a:gd name="connsiteY7" fmla="*/ 0 h 216162"/>
                  <a:gd name="connsiteX8" fmla="*/ 18736 w 113461"/>
                  <a:gd name="connsiteY8" fmla="*/ 84658 h 216162"/>
                  <a:gd name="connsiteX9" fmla="*/ 62580 w 113461"/>
                  <a:gd name="connsiteY9" fmla="*/ 62772 h 216162"/>
                  <a:gd name="connsiteX10" fmla="*/ 113462 w 113461"/>
                  <a:gd name="connsiteY10" fmla="*/ 122191 h 216162"/>
                  <a:gd name="connsiteX11" fmla="*/ 113462 w 113461"/>
                  <a:gd name="connsiteY11" fmla="*/ 216162 h 216162"/>
                  <a:gd name="connsiteX12" fmla="*/ 94726 w 113461"/>
                  <a:gd name="connsiteY12" fmla="*/ 216162 h 21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461" h="216162">
                    <a:moveTo>
                      <a:pt x="94726" y="216069"/>
                    </a:moveTo>
                    <a:lnTo>
                      <a:pt x="94726" y="120701"/>
                    </a:lnTo>
                    <a:cubicBezTo>
                      <a:pt x="94726" y="93133"/>
                      <a:pt x="83694" y="78418"/>
                      <a:pt x="58586" y="78418"/>
                    </a:cubicBezTo>
                    <a:cubicBezTo>
                      <a:pt x="39850" y="78418"/>
                      <a:pt x="26725" y="90991"/>
                      <a:pt x="18736" y="102726"/>
                    </a:cubicBezTo>
                    <a:lnTo>
                      <a:pt x="18736" y="216162"/>
                    </a:lnTo>
                    <a:lnTo>
                      <a:pt x="0" y="216162"/>
                    </a:lnTo>
                    <a:lnTo>
                      <a:pt x="0" y="0"/>
                    </a:lnTo>
                    <a:lnTo>
                      <a:pt x="18736" y="0"/>
                    </a:lnTo>
                    <a:lnTo>
                      <a:pt x="18736" y="84658"/>
                    </a:lnTo>
                    <a:cubicBezTo>
                      <a:pt x="28532" y="71713"/>
                      <a:pt x="43844" y="62772"/>
                      <a:pt x="62580" y="62772"/>
                    </a:cubicBezTo>
                    <a:cubicBezTo>
                      <a:pt x="101193" y="62772"/>
                      <a:pt x="113462" y="86800"/>
                      <a:pt x="113462" y="122191"/>
                    </a:cubicBezTo>
                    <a:lnTo>
                      <a:pt x="113462" y="216162"/>
                    </a:lnTo>
                    <a:lnTo>
                      <a:pt x="94726" y="216162"/>
                    </a:lnTo>
                    <a:close/>
                  </a:path>
                </a:pathLst>
              </a:custGeom>
              <a:grpFill/>
              <a:ln w="9503" cap="flat">
                <a:noFill/>
                <a:prstDash val="solid"/>
                <a:miter/>
              </a:ln>
            </p:spPr>
            <p:txBody>
              <a:bodyPr rtlCol="0" anchor="ctr"/>
              <a:lstStyle/>
              <a:p>
                <a:endParaRPr lang="en-DK"/>
              </a:p>
            </p:txBody>
          </p:sp>
          <p:sp>
            <p:nvSpPr>
              <p:cNvPr id="33" name="Freeform 32">
                <a:extLst>
                  <a:ext uri="{FF2B5EF4-FFF2-40B4-BE49-F238E27FC236}">
                    <a16:creationId xmlns:a16="http://schemas.microsoft.com/office/drawing/2014/main" id="{2F26B07B-32EC-A4B9-CE8F-EDAA8502A6D5}"/>
                  </a:ext>
                </a:extLst>
              </p:cNvPr>
              <p:cNvSpPr/>
              <p:nvPr/>
            </p:nvSpPr>
            <p:spPr>
              <a:xfrm>
                <a:off x="5999371" y="3289300"/>
                <a:ext cx="21779" cy="216069"/>
              </a:xfrm>
              <a:custGeom>
                <a:avLst/>
                <a:gdLst>
                  <a:gd name="connsiteX0" fmla="*/ 0 w 21779"/>
                  <a:gd name="connsiteY0" fmla="*/ 23097 h 216069"/>
                  <a:gd name="connsiteX1" fmla="*/ 0 w 21779"/>
                  <a:gd name="connsiteY1" fmla="*/ 0 h 216069"/>
                  <a:gd name="connsiteX2" fmla="*/ 21779 w 21779"/>
                  <a:gd name="connsiteY2" fmla="*/ 0 h 216069"/>
                  <a:gd name="connsiteX3" fmla="*/ 21779 w 21779"/>
                  <a:gd name="connsiteY3" fmla="*/ 23097 h 216069"/>
                  <a:gd name="connsiteX4" fmla="*/ 0 w 21779"/>
                  <a:gd name="connsiteY4" fmla="*/ 23097 h 216069"/>
                  <a:gd name="connsiteX5" fmla="*/ 1522 w 21779"/>
                  <a:gd name="connsiteY5" fmla="*/ 216069 h 216069"/>
                  <a:gd name="connsiteX6" fmla="*/ 1522 w 21779"/>
                  <a:gd name="connsiteY6" fmla="*/ 66032 h 216069"/>
                  <a:gd name="connsiteX7" fmla="*/ 20258 w 21779"/>
                  <a:gd name="connsiteY7" fmla="*/ 66032 h 216069"/>
                  <a:gd name="connsiteX8" fmla="*/ 20258 w 21779"/>
                  <a:gd name="connsiteY8" fmla="*/ 216069 h 216069"/>
                  <a:gd name="connsiteX9" fmla="*/ 1522 w 21779"/>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79" h="216069">
                    <a:moveTo>
                      <a:pt x="0" y="23097"/>
                    </a:moveTo>
                    <a:lnTo>
                      <a:pt x="0" y="0"/>
                    </a:lnTo>
                    <a:lnTo>
                      <a:pt x="21779" y="0"/>
                    </a:lnTo>
                    <a:lnTo>
                      <a:pt x="21779" y="23097"/>
                    </a:lnTo>
                    <a:lnTo>
                      <a:pt x="0" y="23097"/>
                    </a:lnTo>
                    <a:close/>
                    <a:moveTo>
                      <a:pt x="1522" y="216069"/>
                    </a:moveTo>
                    <a:lnTo>
                      <a:pt x="1522" y="66032"/>
                    </a:lnTo>
                    <a:lnTo>
                      <a:pt x="20258" y="66032"/>
                    </a:lnTo>
                    <a:lnTo>
                      <a:pt x="20258" y="216069"/>
                    </a:lnTo>
                    <a:lnTo>
                      <a:pt x="1522" y="216069"/>
                    </a:lnTo>
                    <a:close/>
                  </a:path>
                </a:pathLst>
              </a:custGeom>
              <a:grpFill/>
              <a:ln w="9503" cap="flat">
                <a:noFill/>
                <a:prstDash val="solid"/>
                <a:miter/>
              </a:ln>
            </p:spPr>
            <p:txBody>
              <a:bodyPr rtlCol="0" anchor="ctr"/>
              <a:lstStyle/>
              <a:p>
                <a:endParaRPr lang="en-DK"/>
              </a:p>
            </p:txBody>
          </p:sp>
          <p:sp>
            <p:nvSpPr>
              <p:cNvPr id="34" name="Freeform 33">
                <a:extLst>
                  <a:ext uri="{FF2B5EF4-FFF2-40B4-BE49-F238E27FC236}">
                    <a16:creationId xmlns:a16="http://schemas.microsoft.com/office/drawing/2014/main" id="{92582490-5DEB-EA8D-0314-A758E778D8FF}"/>
                  </a:ext>
                </a:extLst>
              </p:cNvPr>
              <p:cNvSpPr/>
              <p:nvPr/>
            </p:nvSpPr>
            <p:spPr>
              <a:xfrm>
                <a:off x="6069179" y="3351978"/>
                <a:ext cx="114222" cy="153390"/>
              </a:xfrm>
              <a:custGeom>
                <a:avLst/>
                <a:gdLst>
                  <a:gd name="connsiteX0" fmla="*/ 95677 w 114222"/>
                  <a:gd name="connsiteY0" fmla="*/ 153391 h 153390"/>
                  <a:gd name="connsiteX1" fmla="*/ 95677 w 114222"/>
                  <a:gd name="connsiteY1" fmla="*/ 58301 h 153390"/>
                  <a:gd name="connsiteX2" fmla="*/ 59537 w 114222"/>
                  <a:gd name="connsiteY2" fmla="*/ 15646 h 153390"/>
                  <a:gd name="connsiteX3" fmla="*/ 19687 w 114222"/>
                  <a:gd name="connsiteY3" fmla="*/ 39954 h 153390"/>
                  <a:gd name="connsiteX4" fmla="*/ 19687 w 114222"/>
                  <a:gd name="connsiteY4" fmla="*/ 153391 h 153390"/>
                  <a:gd name="connsiteX5" fmla="*/ 951 w 114222"/>
                  <a:gd name="connsiteY5" fmla="*/ 153391 h 153390"/>
                  <a:gd name="connsiteX6" fmla="*/ 951 w 114222"/>
                  <a:gd name="connsiteY6" fmla="*/ 30920 h 153390"/>
                  <a:gd name="connsiteX7" fmla="*/ 0 w 114222"/>
                  <a:gd name="connsiteY7" fmla="*/ 3353 h 153390"/>
                  <a:gd name="connsiteX8" fmla="*/ 15598 w 114222"/>
                  <a:gd name="connsiteY8" fmla="*/ 3353 h 153390"/>
                  <a:gd name="connsiteX9" fmla="*/ 17119 w 114222"/>
                  <a:gd name="connsiteY9" fmla="*/ 24028 h 153390"/>
                  <a:gd name="connsiteX10" fmla="*/ 63056 w 114222"/>
                  <a:gd name="connsiteY10" fmla="*/ 0 h 153390"/>
                  <a:gd name="connsiteX11" fmla="*/ 114223 w 114222"/>
                  <a:gd name="connsiteY11" fmla="*/ 59419 h 153390"/>
                  <a:gd name="connsiteX12" fmla="*/ 114223 w 114222"/>
                  <a:gd name="connsiteY12" fmla="*/ 153391 h 153390"/>
                  <a:gd name="connsiteX13" fmla="*/ 95487 w 114222"/>
                  <a:gd name="connsiteY13" fmla="*/ 153391 h 15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222" h="153390">
                    <a:moveTo>
                      <a:pt x="95677" y="153391"/>
                    </a:moveTo>
                    <a:lnTo>
                      <a:pt x="95677" y="58301"/>
                    </a:lnTo>
                    <a:cubicBezTo>
                      <a:pt x="95677" y="31013"/>
                      <a:pt x="84359" y="15646"/>
                      <a:pt x="59537" y="15646"/>
                    </a:cubicBezTo>
                    <a:cubicBezTo>
                      <a:pt x="39279" y="15646"/>
                      <a:pt x="27010" y="29151"/>
                      <a:pt x="19687" y="39954"/>
                    </a:cubicBezTo>
                    <a:lnTo>
                      <a:pt x="19687" y="153391"/>
                    </a:lnTo>
                    <a:lnTo>
                      <a:pt x="951" y="153391"/>
                    </a:lnTo>
                    <a:lnTo>
                      <a:pt x="951" y="30920"/>
                    </a:lnTo>
                    <a:cubicBezTo>
                      <a:pt x="951" y="25798"/>
                      <a:pt x="381" y="8382"/>
                      <a:pt x="0" y="3353"/>
                    </a:cubicBezTo>
                    <a:lnTo>
                      <a:pt x="15598" y="3353"/>
                    </a:lnTo>
                    <a:lnTo>
                      <a:pt x="17119" y="24028"/>
                    </a:lnTo>
                    <a:cubicBezTo>
                      <a:pt x="26344" y="10803"/>
                      <a:pt x="42513" y="0"/>
                      <a:pt x="63056" y="0"/>
                    </a:cubicBezTo>
                    <a:cubicBezTo>
                      <a:pt x="100432" y="0"/>
                      <a:pt x="114223" y="23097"/>
                      <a:pt x="114223" y="59419"/>
                    </a:cubicBezTo>
                    <a:lnTo>
                      <a:pt x="114223" y="153391"/>
                    </a:lnTo>
                    <a:lnTo>
                      <a:pt x="95487" y="153391"/>
                    </a:lnTo>
                    <a:close/>
                  </a:path>
                </a:pathLst>
              </a:custGeom>
              <a:grpFill/>
              <a:ln w="9503" cap="flat">
                <a:noFill/>
                <a:prstDash val="solid"/>
                <a:miter/>
              </a:ln>
            </p:spPr>
            <p:txBody>
              <a:bodyPr rtlCol="0" anchor="ctr"/>
              <a:lstStyle/>
              <a:p>
                <a:endParaRPr lang="en-DK"/>
              </a:p>
            </p:txBody>
          </p:sp>
          <p:sp>
            <p:nvSpPr>
              <p:cNvPr id="35" name="Freeform 34">
                <a:extLst>
                  <a:ext uri="{FF2B5EF4-FFF2-40B4-BE49-F238E27FC236}">
                    <a16:creationId xmlns:a16="http://schemas.microsoft.com/office/drawing/2014/main" id="{ADE757B1-C9CB-BD33-3B08-1C147930D2FB}"/>
                  </a:ext>
                </a:extLst>
              </p:cNvPr>
              <p:cNvSpPr/>
              <p:nvPr/>
            </p:nvSpPr>
            <p:spPr>
              <a:xfrm>
                <a:off x="6224013" y="3289300"/>
                <a:ext cx="125730" cy="219328"/>
              </a:xfrm>
              <a:custGeom>
                <a:avLst/>
                <a:gdLst>
                  <a:gd name="connsiteX0" fmla="*/ 109753 w 125730"/>
                  <a:gd name="connsiteY0" fmla="*/ 216069 h 219328"/>
                  <a:gd name="connsiteX1" fmla="*/ 108231 w 125730"/>
                  <a:gd name="connsiteY1" fmla="*/ 192320 h 219328"/>
                  <a:gd name="connsiteX2" fmla="*/ 60392 w 125730"/>
                  <a:gd name="connsiteY2" fmla="*/ 219329 h 219328"/>
                  <a:gd name="connsiteX3" fmla="*/ 0 w 125730"/>
                  <a:gd name="connsiteY3" fmla="*/ 140352 h 219328"/>
                  <a:gd name="connsiteX4" fmla="*/ 63151 w 125730"/>
                  <a:gd name="connsiteY4" fmla="*/ 62586 h 219328"/>
                  <a:gd name="connsiteX5" fmla="*/ 106044 w 125730"/>
                  <a:gd name="connsiteY5" fmla="*/ 79350 h 219328"/>
                  <a:gd name="connsiteX6" fmla="*/ 106044 w 125730"/>
                  <a:gd name="connsiteY6" fmla="*/ 0 h 219328"/>
                  <a:gd name="connsiteX7" fmla="*/ 124779 w 125730"/>
                  <a:gd name="connsiteY7" fmla="*/ 0 h 219328"/>
                  <a:gd name="connsiteX8" fmla="*/ 124779 w 125730"/>
                  <a:gd name="connsiteY8" fmla="*/ 187850 h 219328"/>
                  <a:gd name="connsiteX9" fmla="*/ 125730 w 125730"/>
                  <a:gd name="connsiteY9" fmla="*/ 216069 h 219328"/>
                  <a:gd name="connsiteX10" fmla="*/ 109753 w 125730"/>
                  <a:gd name="connsiteY10" fmla="*/ 216069 h 219328"/>
                  <a:gd name="connsiteX11" fmla="*/ 106044 w 125730"/>
                  <a:gd name="connsiteY11" fmla="*/ 95369 h 219328"/>
                  <a:gd name="connsiteX12" fmla="*/ 67145 w 125730"/>
                  <a:gd name="connsiteY12" fmla="*/ 77953 h 219328"/>
                  <a:gd name="connsiteX13" fmla="*/ 19592 w 125730"/>
                  <a:gd name="connsiteY13" fmla="*/ 141004 h 219328"/>
                  <a:gd name="connsiteX14" fmla="*/ 64958 w 125730"/>
                  <a:gd name="connsiteY14" fmla="*/ 204055 h 219328"/>
                  <a:gd name="connsiteX15" fmla="*/ 106044 w 125730"/>
                  <a:gd name="connsiteY15" fmla="*/ 177046 h 219328"/>
                  <a:gd name="connsiteX16" fmla="*/ 106044 w 125730"/>
                  <a:gd name="connsiteY16" fmla="*/ 95462 h 21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730" h="219328">
                    <a:moveTo>
                      <a:pt x="109753" y="216069"/>
                    </a:moveTo>
                    <a:lnTo>
                      <a:pt x="108231" y="192320"/>
                    </a:lnTo>
                    <a:cubicBezTo>
                      <a:pt x="99386" y="204893"/>
                      <a:pt x="84645" y="219329"/>
                      <a:pt x="60392" y="219329"/>
                    </a:cubicBezTo>
                    <a:cubicBezTo>
                      <a:pt x="19592" y="219329"/>
                      <a:pt x="0" y="183938"/>
                      <a:pt x="0" y="140352"/>
                    </a:cubicBezTo>
                    <a:cubicBezTo>
                      <a:pt x="0" y="91736"/>
                      <a:pt x="28151" y="62586"/>
                      <a:pt x="63151" y="62586"/>
                    </a:cubicBezTo>
                    <a:cubicBezTo>
                      <a:pt x="82172" y="62586"/>
                      <a:pt x="97199" y="70409"/>
                      <a:pt x="106044" y="79350"/>
                    </a:cubicBezTo>
                    <a:lnTo>
                      <a:pt x="106044" y="0"/>
                    </a:lnTo>
                    <a:lnTo>
                      <a:pt x="124779" y="0"/>
                    </a:lnTo>
                    <a:lnTo>
                      <a:pt x="124779" y="187850"/>
                    </a:lnTo>
                    <a:cubicBezTo>
                      <a:pt x="124779" y="195021"/>
                      <a:pt x="125350" y="209457"/>
                      <a:pt x="125730" y="216069"/>
                    </a:cubicBezTo>
                    <a:lnTo>
                      <a:pt x="109753" y="216069"/>
                    </a:lnTo>
                    <a:close/>
                    <a:moveTo>
                      <a:pt x="106044" y="95369"/>
                    </a:moveTo>
                    <a:cubicBezTo>
                      <a:pt x="96533" y="86335"/>
                      <a:pt x="86737" y="77953"/>
                      <a:pt x="67145" y="77953"/>
                    </a:cubicBezTo>
                    <a:cubicBezTo>
                      <a:pt x="47553" y="77953"/>
                      <a:pt x="19592" y="93878"/>
                      <a:pt x="19592" y="141004"/>
                    </a:cubicBezTo>
                    <a:cubicBezTo>
                      <a:pt x="19592" y="178257"/>
                      <a:pt x="36140" y="204055"/>
                      <a:pt x="64958" y="204055"/>
                    </a:cubicBezTo>
                    <a:cubicBezTo>
                      <a:pt x="84264" y="204055"/>
                      <a:pt x="97484" y="190271"/>
                      <a:pt x="106044" y="177046"/>
                    </a:cubicBezTo>
                    <a:lnTo>
                      <a:pt x="106044" y="95462"/>
                    </a:lnTo>
                    <a:close/>
                  </a:path>
                </a:pathLst>
              </a:custGeom>
              <a:grpFill/>
              <a:ln w="9503" cap="flat">
                <a:noFill/>
                <a:prstDash val="solid"/>
                <a:miter/>
              </a:ln>
            </p:spPr>
            <p:txBody>
              <a:bodyPr rtlCol="0" anchor="ctr"/>
              <a:lstStyle/>
              <a:p>
                <a:endParaRPr lang="en-DK"/>
              </a:p>
            </p:txBody>
          </p:sp>
        </p:grpSp>
        <p:grpSp>
          <p:nvGrpSpPr>
            <p:cNvPr id="10" name="Graphic 17">
              <a:extLst>
                <a:ext uri="{FF2B5EF4-FFF2-40B4-BE49-F238E27FC236}">
                  <a16:creationId xmlns:a16="http://schemas.microsoft.com/office/drawing/2014/main" id="{02C3B899-E444-3E26-0E8B-2D4EBB5CA600}"/>
                </a:ext>
              </a:extLst>
            </p:cNvPr>
            <p:cNvGrpSpPr/>
            <p:nvPr/>
          </p:nvGrpSpPr>
          <p:grpSpPr>
            <a:xfrm>
              <a:off x="6465963" y="3289300"/>
              <a:ext cx="1730364" cy="282193"/>
              <a:chOff x="6465963" y="3289300"/>
              <a:chExt cx="1730364" cy="282193"/>
            </a:xfrm>
            <a:grpFill/>
          </p:grpSpPr>
          <p:sp>
            <p:nvSpPr>
              <p:cNvPr id="11" name="Freeform 10">
                <a:extLst>
                  <a:ext uri="{FF2B5EF4-FFF2-40B4-BE49-F238E27FC236}">
                    <a16:creationId xmlns:a16="http://schemas.microsoft.com/office/drawing/2014/main" id="{D6285EB5-EF40-ADCD-BAFE-FE74E19E3819}"/>
                  </a:ext>
                </a:extLst>
              </p:cNvPr>
              <p:cNvSpPr/>
              <p:nvPr/>
            </p:nvSpPr>
            <p:spPr>
              <a:xfrm>
                <a:off x="6465963" y="3355424"/>
                <a:ext cx="145512" cy="216069"/>
              </a:xfrm>
              <a:custGeom>
                <a:avLst/>
                <a:gdLst>
                  <a:gd name="connsiteX0" fmla="*/ 93204 w 145512"/>
                  <a:gd name="connsiteY0" fmla="*/ 161121 h 216069"/>
                  <a:gd name="connsiteX1" fmla="*/ 18451 w 145512"/>
                  <a:gd name="connsiteY1" fmla="*/ 216069 h 216069"/>
                  <a:gd name="connsiteX2" fmla="*/ 13220 w 145512"/>
                  <a:gd name="connsiteY2" fmla="*/ 189061 h 216069"/>
                  <a:gd name="connsiteX3" fmla="*/ 58871 w 145512"/>
                  <a:gd name="connsiteY3" fmla="*/ 159072 h 216069"/>
                  <a:gd name="connsiteX4" fmla="*/ 61914 w 145512"/>
                  <a:gd name="connsiteY4" fmla="*/ 149479 h 216069"/>
                  <a:gd name="connsiteX5" fmla="*/ 0 w 145512"/>
                  <a:gd name="connsiteY5" fmla="*/ 0 h 216069"/>
                  <a:gd name="connsiteX6" fmla="*/ 36426 w 145512"/>
                  <a:gd name="connsiteY6" fmla="*/ 0 h 216069"/>
                  <a:gd name="connsiteX7" fmla="*/ 63056 w 145512"/>
                  <a:gd name="connsiteY7" fmla="*/ 68453 h 216069"/>
                  <a:gd name="connsiteX8" fmla="*/ 78368 w 145512"/>
                  <a:gd name="connsiteY8" fmla="*/ 114368 h 216069"/>
                  <a:gd name="connsiteX9" fmla="*/ 111179 w 145512"/>
                  <a:gd name="connsiteY9" fmla="*/ 0 h 216069"/>
                  <a:gd name="connsiteX10" fmla="*/ 145513 w 145512"/>
                  <a:gd name="connsiteY10" fmla="*/ 0 h 216069"/>
                  <a:gd name="connsiteX11" fmla="*/ 93109 w 145512"/>
                  <a:gd name="connsiteY11" fmla="*/ 161214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512" h="216069">
                    <a:moveTo>
                      <a:pt x="93204" y="161121"/>
                    </a:moveTo>
                    <a:cubicBezTo>
                      <a:pt x="80650" y="199492"/>
                      <a:pt x="52118" y="211878"/>
                      <a:pt x="18451" y="216069"/>
                    </a:cubicBezTo>
                    <a:lnTo>
                      <a:pt x="13220" y="189061"/>
                    </a:lnTo>
                    <a:cubicBezTo>
                      <a:pt x="37472" y="185428"/>
                      <a:pt x="53640" y="175277"/>
                      <a:pt x="58871" y="159072"/>
                    </a:cubicBezTo>
                    <a:lnTo>
                      <a:pt x="61914" y="149479"/>
                    </a:lnTo>
                    <a:lnTo>
                      <a:pt x="0" y="0"/>
                    </a:lnTo>
                    <a:lnTo>
                      <a:pt x="36426" y="0"/>
                    </a:lnTo>
                    <a:lnTo>
                      <a:pt x="63056" y="68453"/>
                    </a:lnTo>
                    <a:cubicBezTo>
                      <a:pt x="70379" y="87638"/>
                      <a:pt x="78368" y="114368"/>
                      <a:pt x="78368" y="114368"/>
                    </a:cubicBezTo>
                    <a:lnTo>
                      <a:pt x="111179" y="0"/>
                    </a:lnTo>
                    <a:lnTo>
                      <a:pt x="145513" y="0"/>
                    </a:lnTo>
                    <a:lnTo>
                      <a:pt x="93109" y="161214"/>
                    </a:lnTo>
                    <a:close/>
                  </a:path>
                </a:pathLst>
              </a:custGeom>
              <a:grpFill/>
              <a:ln w="9503" cap="flat">
                <a:noFill/>
                <a:prstDash val="solid"/>
                <a:miter/>
              </a:ln>
            </p:spPr>
            <p:txBody>
              <a:bodyPr rtlCol="0" anchor="ctr"/>
              <a:lstStyle/>
              <a:p>
                <a:endParaRPr lang="en-DK"/>
              </a:p>
            </p:txBody>
          </p:sp>
          <p:sp>
            <p:nvSpPr>
              <p:cNvPr id="12" name="Freeform 11">
                <a:extLst>
                  <a:ext uri="{FF2B5EF4-FFF2-40B4-BE49-F238E27FC236}">
                    <a16:creationId xmlns:a16="http://schemas.microsoft.com/office/drawing/2014/main" id="{E41C4D94-44AE-0EC7-AD12-59078C286BB4}"/>
                  </a:ext>
                </a:extLst>
              </p:cNvPr>
              <p:cNvSpPr/>
              <p:nvPr/>
            </p:nvSpPr>
            <p:spPr>
              <a:xfrm>
                <a:off x="6629927" y="3351140"/>
                <a:ext cx="147795" cy="158419"/>
              </a:xfrm>
              <a:custGeom>
                <a:avLst/>
                <a:gdLst>
                  <a:gd name="connsiteX0" fmla="*/ 73898 w 147795"/>
                  <a:gd name="connsiteY0" fmla="*/ 158420 h 158419"/>
                  <a:gd name="connsiteX1" fmla="*/ 0 w 147795"/>
                  <a:gd name="connsiteY1" fmla="*/ 78605 h 158419"/>
                  <a:gd name="connsiteX2" fmla="*/ 73898 w 147795"/>
                  <a:gd name="connsiteY2" fmla="*/ 0 h 158419"/>
                  <a:gd name="connsiteX3" fmla="*/ 147795 w 147795"/>
                  <a:gd name="connsiteY3" fmla="*/ 78605 h 158419"/>
                  <a:gd name="connsiteX4" fmla="*/ 73898 w 147795"/>
                  <a:gd name="connsiteY4" fmla="*/ 158420 h 158419"/>
                  <a:gd name="connsiteX5" fmla="*/ 73898 w 147795"/>
                  <a:gd name="connsiteY5" fmla="*/ 26357 h 158419"/>
                  <a:gd name="connsiteX6" fmla="*/ 34714 w 147795"/>
                  <a:gd name="connsiteY6" fmla="*/ 78605 h 158419"/>
                  <a:gd name="connsiteX7" fmla="*/ 73898 w 147795"/>
                  <a:gd name="connsiteY7" fmla="*/ 132063 h 158419"/>
                  <a:gd name="connsiteX8" fmla="*/ 113081 w 147795"/>
                  <a:gd name="connsiteY8" fmla="*/ 78605 h 158419"/>
                  <a:gd name="connsiteX9" fmla="*/ 73898 w 147795"/>
                  <a:gd name="connsiteY9" fmla="*/ 26357 h 1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95" h="158419">
                    <a:moveTo>
                      <a:pt x="73898" y="158420"/>
                    </a:moveTo>
                    <a:cubicBezTo>
                      <a:pt x="26725" y="158420"/>
                      <a:pt x="0" y="124799"/>
                      <a:pt x="0" y="78605"/>
                    </a:cubicBezTo>
                    <a:cubicBezTo>
                      <a:pt x="0" y="32410"/>
                      <a:pt x="27581" y="0"/>
                      <a:pt x="73898" y="0"/>
                    </a:cubicBezTo>
                    <a:cubicBezTo>
                      <a:pt x="120214" y="0"/>
                      <a:pt x="147795" y="32410"/>
                      <a:pt x="147795" y="78605"/>
                    </a:cubicBezTo>
                    <a:cubicBezTo>
                      <a:pt x="147795" y="124799"/>
                      <a:pt x="120214" y="158420"/>
                      <a:pt x="73898" y="158420"/>
                    </a:cubicBezTo>
                    <a:close/>
                    <a:moveTo>
                      <a:pt x="73898" y="26357"/>
                    </a:moveTo>
                    <a:cubicBezTo>
                      <a:pt x="47838" y="26357"/>
                      <a:pt x="34714" y="47405"/>
                      <a:pt x="34714" y="78605"/>
                    </a:cubicBezTo>
                    <a:cubicBezTo>
                      <a:pt x="34714" y="109804"/>
                      <a:pt x="48504" y="132063"/>
                      <a:pt x="73898" y="132063"/>
                    </a:cubicBezTo>
                    <a:cubicBezTo>
                      <a:pt x="99291" y="132063"/>
                      <a:pt x="113081" y="109897"/>
                      <a:pt x="113081" y="78605"/>
                    </a:cubicBezTo>
                    <a:cubicBezTo>
                      <a:pt x="113081" y="47312"/>
                      <a:pt x="99005" y="26357"/>
                      <a:pt x="73898" y="26357"/>
                    </a:cubicBezTo>
                    <a:close/>
                  </a:path>
                </a:pathLst>
              </a:custGeom>
              <a:grpFill/>
              <a:ln w="9503" cap="flat">
                <a:noFill/>
                <a:prstDash val="solid"/>
                <a:miter/>
              </a:ln>
            </p:spPr>
            <p:txBody>
              <a:bodyPr rtlCol="0" anchor="ctr"/>
              <a:lstStyle/>
              <a:p>
                <a:endParaRPr lang="en-DK"/>
              </a:p>
            </p:txBody>
          </p:sp>
          <p:sp>
            <p:nvSpPr>
              <p:cNvPr id="13" name="Freeform 12">
                <a:extLst>
                  <a:ext uri="{FF2B5EF4-FFF2-40B4-BE49-F238E27FC236}">
                    <a16:creationId xmlns:a16="http://schemas.microsoft.com/office/drawing/2014/main" id="{1D4AE4E4-9624-6326-EFDE-8B8E20AF56AA}"/>
                  </a:ext>
                </a:extLst>
              </p:cNvPr>
              <p:cNvSpPr/>
              <p:nvPr/>
            </p:nvSpPr>
            <p:spPr>
              <a:xfrm>
                <a:off x="6812911" y="3355331"/>
                <a:ext cx="127252" cy="153949"/>
              </a:xfrm>
              <a:custGeom>
                <a:avLst/>
                <a:gdLst>
                  <a:gd name="connsiteX0" fmla="*/ 99957 w 127252"/>
                  <a:gd name="connsiteY0" fmla="*/ 150038 h 153949"/>
                  <a:gd name="connsiteX1" fmla="*/ 97199 w 127252"/>
                  <a:gd name="connsiteY1" fmla="*/ 132622 h 153949"/>
                  <a:gd name="connsiteX2" fmla="*/ 53069 w 127252"/>
                  <a:gd name="connsiteY2" fmla="*/ 153949 h 153949"/>
                  <a:gd name="connsiteX3" fmla="*/ 0 w 127252"/>
                  <a:gd name="connsiteY3" fmla="*/ 95462 h 153949"/>
                  <a:gd name="connsiteX4" fmla="*/ 0 w 127252"/>
                  <a:gd name="connsiteY4" fmla="*/ 0 h 153949"/>
                  <a:gd name="connsiteX5" fmla="*/ 34048 w 127252"/>
                  <a:gd name="connsiteY5" fmla="*/ 0 h 153949"/>
                  <a:gd name="connsiteX6" fmla="*/ 34048 w 127252"/>
                  <a:gd name="connsiteY6" fmla="*/ 90619 h 153949"/>
                  <a:gd name="connsiteX7" fmla="*/ 60107 w 127252"/>
                  <a:gd name="connsiteY7" fmla="*/ 127220 h 153949"/>
                  <a:gd name="connsiteX8" fmla="*/ 91682 w 127252"/>
                  <a:gd name="connsiteY8" fmla="*/ 108035 h 153949"/>
                  <a:gd name="connsiteX9" fmla="*/ 91682 w 127252"/>
                  <a:gd name="connsiteY9" fmla="*/ 0 h 153949"/>
                  <a:gd name="connsiteX10" fmla="*/ 125731 w 127252"/>
                  <a:gd name="connsiteY10" fmla="*/ 0 h 153949"/>
                  <a:gd name="connsiteX11" fmla="*/ 125731 w 127252"/>
                  <a:gd name="connsiteY11" fmla="*/ 123029 h 153949"/>
                  <a:gd name="connsiteX12" fmla="*/ 127252 w 127252"/>
                  <a:gd name="connsiteY12" fmla="*/ 150038 h 153949"/>
                  <a:gd name="connsiteX13" fmla="*/ 99957 w 127252"/>
                  <a:gd name="connsiteY13" fmla="*/ 150038 h 1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252" h="153949">
                    <a:moveTo>
                      <a:pt x="99957" y="150038"/>
                    </a:moveTo>
                    <a:lnTo>
                      <a:pt x="97199" y="132622"/>
                    </a:lnTo>
                    <a:cubicBezTo>
                      <a:pt x="86452" y="146126"/>
                      <a:pt x="71425" y="153949"/>
                      <a:pt x="53069" y="153949"/>
                    </a:cubicBezTo>
                    <a:cubicBezTo>
                      <a:pt x="15027" y="153949"/>
                      <a:pt x="0" y="131784"/>
                      <a:pt x="0" y="95462"/>
                    </a:cubicBezTo>
                    <a:lnTo>
                      <a:pt x="0" y="0"/>
                    </a:lnTo>
                    <a:lnTo>
                      <a:pt x="34048" y="0"/>
                    </a:lnTo>
                    <a:lnTo>
                      <a:pt x="34048" y="90619"/>
                    </a:lnTo>
                    <a:cubicBezTo>
                      <a:pt x="34048" y="117069"/>
                      <a:pt x="39850" y="127220"/>
                      <a:pt x="60107" y="127220"/>
                    </a:cubicBezTo>
                    <a:cubicBezTo>
                      <a:pt x="76085" y="127220"/>
                      <a:pt x="86452" y="115485"/>
                      <a:pt x="91682" y="108035"/>
                    </a:cubicBezTo>
                    <a:lnTo>
                      <a:pt x="91682" y="0"/>
                    </a:lnTo>
                    <a:lnTo>
                      <a:pt x="125731" y="0"/>
                    </a:lnTo>
                    <a:lnTo>
                      <a:pt x="125731" y="123029"/>
                    </a:lnTo>
                    <a:cubicBezTo>
                      <a:pt x="125731" y="128151"/>
                      <a:pt x="126967" y="144915"/>
                      <a:pt x="127252" y="150038"/>
                    </a:cubicBezTo>
                    <a:lnTo>
                      <a:pt x="99957" y="150038"/>
                    </a:lnTo>
                    <a:close/>
                  </a:path>
                </a:pathLst>
              </a:custGeom>
              <a:grpFill/>
              <a:ln w="9503" cap="flat">
                <a:noFill/>
                <a:prstDash val="solid"/>
                <a:miter/>
              </a:ln>
            </p:spPr>
            <p:txBody>
              <a:bodyPr rtlCol="0" anchor="ctr"/>
              <a:lstStyle/>
              <a:p>
                <a:endParaRPr lang="en-DK"/>
              </a:p>
            </p:txBody>
          </p:sp>
          <p:sp>
            <p:nvSpPr>
              <p:cNvPr id="14" name="Freeform 13">
                <a:extLst>
                  <a:ext uri="{FF2B5EF4-FFF2-40B4-BE49-F238E27FC236}">
                    <a16:creationId xmlns:a16="http://schemas.microsoft.com/office/drawing/2014/main" id="{30001E60-3FD4-FA96-1068-8CF50574C319}"/>
                  </a:ext>
                </a:extLst>
              </p:cNvPr>
              <p:cNvSpPr/>
              <p:nvPr/>
            </p:nvSpPr>
            <p:spPr>
              <a:xfrm>
                <a:off x="6980013" y="3351140"/>
                <a:ext cx="93204" cy="154228"/>
              </a:xfrm>
              <a:custGeom>
                <a:avLst/>
                <a:gdLst>
                  <a:gd name="connsiteX0" fmla="*/ 83123 w 93204"/>
                  <a:gd name="connsiteY0" fmla="*/ 37160 h 154228"/>
                  <a:gd name="connsiteX1" fmla="*/ 68381 w 93204"/>
                  <a:gd name="connsiteY1" fmla="*/ 32690 h 154228"/>
                  <a:gd name="connsiteX2" fmla="*/ 35570 w 93204"/>
                  <a:gd name="connsiteY2" fmla="*/ 56066 h 154228"/>
                  <a:gd name="connsiteX3" fmla="*/ 35570 w 93204"/>
                  <a:gd name="connsiteY3" fmla="*/ 154229 h 154228"/>
                  <a:gd name="connsiteX4" fmla="*/ 1521 w 93204"/>
                  <a:gd name="connsiteY4" fmla="*/ 154229 h 154228"/>
                  <a:gd name="connsiteX5" fmla="*/ 1521 w 93204"/>
                  <a:gd name="connsiteY5" fmla="*/ 32410 h 154228"/>
                  <a:gd name="connsiteX6" fmla="*/ 0 w 93204"/>
                  <a:gd name="connsiteY6" fmla="*/ 4191 h 154228"/>
                  <a:gd name="connsiteX7" fmla="*/ 26059 w 93204"/>
                  <a:gd name="connsiteY7" fmla="*/ 4191 h 154228"/>
                  <a:gd name="connsiteX8" fmla="*/ 28817 w 93204"/>
                  <a:gd name="connsiteY8" fmla="*/ 29710 h 154228"/>
                  <a:gd name="connsiteX9" fmla="*/ 77892 w 93204"/>
                  <a:gd name="connsiteY9" fmla="*/ 0 h 154228"/>
                  <a:gd name="connsiteX10" fmla="*/ 93204 w 93204"/>
                  <a:gd name="connsiteY10" fmla="*/ 2421 h 154228"/>
                  <a:gd name="connsiteX11" fmla="*/ 83123 w 93204"/>
                  <a:gd name="connsiteY11" fmla="*/ 37253 h 15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04" h="154228">
                    <a:moveTo>
                      <a:pt x="83123" y="37160"/>
                    </a:moveTo>
                    <a:cubicBezTo>
                      <a:pt x="78177" y="34180"/>
                      <a:pt x="73898" y="32690"/>
                      <a:pt x="68381" y="32690"/>
                    </a:cubicBezTo>
                    <a:cubicBezTo>
                      <a:pt x="53640" y="32690"/>
                      <a:pt x="44129" y="42934"/>
                      <a:pt x="35570" y="56066"/>
                    </a:cubicBezTo>
                    <a:lnTo>
                      <a:pt x="35570" y="154229"/>
                    </a:lnTo>
                    <a:lnTo>
                      <a:pt x="1521" y="154229"/>
                    </a:lnTo>
                    <a:lnTo>
                      <a:pt x="1521" y="32410"/>
                    </a:lnTo>
                    <a:cubicBezTo>
                      <a:pt x="1521" y="27288"/>
                      <a:pt x="285" y="9313"/>
                      <a:pt x="0" y="4191"/>
                    </a:cubicBezTo>
                    <a:lnTo>
                      <a:pt x="26059" y="4191"/>
                    </a:lnTo>
                    <a:lnTo>
                      <a:pt x="28817" y="29710"/>
                    </a:lnTo>
                    <a:cubicBezTo>
                      <a:pt x="37091" y="14063"/>
                      <a:pt x="51452" y="0"/>
                      <a:pt x="77892" y="0"/>
                    </a:cubicBezTo>
                    <a:cubicBezTo>
                      <a:pt x="83123" y="0"/>
                      <a:pt x="88924" y="931"/>
                      <a:pt x="93204" y="2421"/>
                    </a:cubicBezTo>
                    <a:lnTo>
                      <a:pt x="83123" y="37253"/>
                    </a:lnTo>
                    <a:close/>
                  </a:path>
                </a:pathLst>
              </a:custGeom>
              <a:grpFill/>
              <a:ln w="9503" cap="flat">
                <a:noFill/>
                <a:prstDash val="solid"/>
                <a:miter/>
              </a:ln>
            </p:spPr>
            <p:txBody>
              <a:bodyPr rtlCol="0" anchor="ctr"/>
              <a:lstStyle/>
              <a:p>
                <a:endParaRPr lang="en-DK"/>
              </a:p>
            </p:txBody>
          </p:sp>
          <p:sp>
            <p:nvSpPr>
              <p:cNvPr id="15" name="Freeform 14">
                <a:extLst>
                  <a:ext uri="{FF2B5EF4-FFF2-40B4-BE49-F238E27FC236}">
                    <a16:creationId xmlns:a16="http://schemas.microsoft.com/office/drawing/2014/main" id="{AAF3BD8F-22CF-D6B9-A719-FA96A126C7E7}"/>
                  </a:ext>
                </a:extLst>
              </p:cNvPr>
              <p:cNvSpPr/>
              <p:nvPr/>
            </p:nvSpPr>
            <p:spPr>
              <a:xfrm>
                <a:off x="7192956" y="3351140"/>
                <a:ext cx="218744" cy="154321"/>
              </a:xfrm>
              <a:custGeom>
                <a:avLst/>
                <a:gdLst>
                  <a:gd name="connsiteX0" fmla="*/ 184982 w 218744"/>
                  <a:gd name="connsiteY0" fmla="*/ 154229 h 154321"/>
                  <a:gd name="connsiteX1" fmla="*/ 184982 w 218744"/>
                  <a:gd name="connsiteY1" fmla="*/ 67242 h 154321"/>
                  <a:gd name="connsiteX2" fmla="*/ 157972 w 218744"/>
                  <a:gd name="connsiteY2" fmla="*/ 27288 h 154321"/>
                  <a:gd name="connsiteX3" fmla="*/ 126682 w 218744"/>
                  <a:gd name="connsiteY3" fmla="*/ 47405 h 154321"/>
                  <a:gd name="connsiteX4" fmla="*/ 127252 w 218744"/>
                  <a:gd name="connsiteY4" fmla="*/ 57277 h 154321"/>
                  <a:gd name="connsiteX5" fmla="*/ 127252 w 218744"/>
                  <a:gd name="connsiteY5" fmla="*/ 154229 h 154321"/>
                  <a:gd name="connsiteX6" fmla="*/ 93204 w 218744"/>
                  <a:gd name="connsiteY6" fmla="*/ 154229 h 154321"/>
                  <a:gd name="connsiteX7" fmla="*/ 93204 w 218744"/>
                  <a:gd name="connsiteY7" fmla="*/ 67522 h 154321"/>
                  <a:gd name="connsiteX8" fmla="*/ 66194 w 218744"/>
                  <a:gd name="connsiteY8" fmla="*/ 27288 h 154321"/>
                  <a:gd name="connsiteX9" fmla="*/ 35570 w 218744"/>
                  <a:gd name="connsiteY9" fmla="*/ 47405 h 154321"/>
                  <a:gd name="connsiteX10" fmla="*/ 35570 w 218744"/>
                  <a:gd name="connsiteY10" fmla="*/ 154229 h 154321"/>
                  <a:gd name="connsiteX11" fmla="*/ 1522 w 218744"/>
                  <a:gd name="connsiteY11" fmla="*/ 154229 h 154321"/>
                  <a:gd name="connsiteX12" fmla="*/ 1522 w 218744"/>
                  <a:gd name="connsiteY12" fmla="*/ 31200 h 154321"/>
                  <a:gd name="connsiteX13" fmla="*/ 0 w 218744"/>
                  <a:gd name="connsiteY13" fmla="*/ 4191 h 154321"/>
                  <a:gd name="connsiteX14" fmla="*/ 26630 w 218744"/>
                  <a:gd name="connsiteY14" fmla="*/ 4191 h 154321"/>
                  <a:gd name="connsiteX15" fmla="*/ 29958 w 218744"/>
                  <a:gd name="connsiteY15" fmla="*/ 22818 h 154321"/>
                  <a:gd name="connsiteX16" fmla="*/ 72281 w 218744"/>
                  <a:gd name="connsiteY16" fmla="*/ 0 h 154321"/>
                  <a:gd name="connsiteX17" fmla="*/ 118217 w 218744"/>
                  <a:gd name="connsiteY17" fmla="*/ 24028 h 154321"/>
                  <a:gd name="connsiteX18" fmla="*/ 164154 w 218744"/>
                  <a:gd name="connsiteY18" fmla="*/ 0 h 154321"/>
                  <a:gd name="connsiteX19" fmla="*/ 218745 w 218744"/>
                  <a:gd name="connsiteY19" fmla="*/ 68453 h 154321"/>
                  <a:gd name="connsiteX20" fmla="*/ 218745 w 218744"/>
                  <a:gd name="connsiteY20" fmla="*/ 154322 h 154321"/>
                  <a:gd name="connsiteX21" fmla="*/ 184697 w 218744"/>
                  <a:gd name="connsiteY21" fmla="*/ 154322 h 15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8744" h="154321">
                    <a:moveTo>
                      <a:pt x="184982" y="154229"/>
                    </a:moveTo>
                    <a:lnTo>
                      <a:pt x="184982" y="67242"/>
                    </a:lnTo>
                    <a:cubicBezTo>
                      <a:pt x="184982" y="42655"/>
                      <a:pt x="179180" y="27288"/>
                      <a:pt x="157972" y="27288"/>
                    </a:cubicBezTo>
                    <a:cubicBezTo>
                      <a:pt x="144181" y="27288"/>
                      <a:pt x="133719" y="37160"/>
                      <a:pt x="126682" y="47405"/>
                    </a:cubicBezTo>
                    <a:cubicBezTo>
                      <a:pt x="126967" y="50106"/>
                      <a:pt x="127252" y="54297"/>
                      <a:pt x="127252" y="57277"/>
                    </a:cubicBezTo>
                    <a:lnTo>
                      <a:pt x="127252" y="154229"/>
                    </a:lnTo>
                    <a:lnTo>
                      <a:pt x="93204" y="154229"/>
                    </a:lnTo>
                    <a:lnTo>
                      <a:pt x="93204" y="67522"/>
                    </a:lnTo>
                    <a:cubicBezTo>
                      <a:pt x="93204" y="41724"/>
                      <a:pt x="88639" y="27288"/>
                      <a:pt x="66194" y="27288"/>
                    </a:cubicBezTo>
                    <a:cubicBezTo>
                      <a:pt x="53355" y="27288"/>
                      <a:pt x="42322" y="38092"/>
                      <a:pt x="35570" y="47405"/>
                    </a:cubicBezTo>
                    <a:lnTo>
                      <a:pt x="35570" y="154229"/>
                    </a:lnTo>
                    <a:lnTo>
                      <a:pt x="1522" y="154229"/>
                    </a:lnTo>
                    <a:lnTo>
                      <a:pt x="1522" y="31200"/>
                    </a:lnTo>
                    <a:cubicBezTo>
                      <a:pt x="1522" y="26077"/>
                      <a:pt x="285" y="9313"/>
                      <a:pt x="0" y="4191"/>
                    </a:cubicBezTo>
                    <a:lnTo>
                      <a:pt x="26630" y="4191"/>
                    </a:lnTo>
                    <a:lnTo>
                      <a:pt x="29958" y="22818"/>
                    </a:lnTo>
                    <a:cubicBezTo>
                      <a:pt x="40991" y="9872"/>
                      <a:pt x="55067" y="0"/>
                      <a:pt x="72281" y="0"/>
                    </a:cubicBezTo>
                    <a:cubicBezTo>
                      <a:pt x="96153" y="0"/>
                      <a:pt x="109087" y="9034"/>
                      <a:pt x="118217" y="24028"/>
                    </a:cubicBezTo>
                    <a:cubicBezTo>
                      <a:pt x="128013" y="11083"/>
                      <a:pt x="142755" y="0"/>
                      <a:pt x="164154" y="0"/>
                    </a:cubicBezTo>
                    <a:cubicBezTo>
                      <a:pt x="202481" y="0"/>
                      <a:pt x="218745" y="20676"/>
                      <a:pt x="218745" y="68453"/>
                    </a:cubicBezTo>
                    <a:lnTo>
                      <a:pt x="218745" y="154322"/>
                    </a:lnTo>
                    <a:lnTo>
                      <a:pt x="184697" y="154322"/>
                    </a:lnTo>
                    <a:close/>
                  </a:path>
                </a:pathLst>
              </a:custGeom>
              <a:grpFill/>
              <a:ln w="9503" cap="flat">
                <a:noFill/>
                <a:prstDash val="solid"/>
                <a:miter/>
              </a:ln>
            </p:spPr>
            <p:txBody>
              <a:bodyPr rtlCol="0" anchor="ctr"/>
              <a:lstStyle/>
              <a:p>
                <a:endParaRPr lang="en-DK"/>
              </a:p>
            </p:txBody>
          </p:sp>
          <p:sp>
            <p:nvSpPr>
              <p:cNvPr id="16" name="Freeform 15">
                <a:extLst>
                  <a:ext uri="{FF2B5EF4-FFF2-40B4-BE49-F238E27FC236}">
                    <a16:creationId xmlns:a16="http://schemas.microsoft.com/office/drawing/2014/main" id="{6200F041-1FC8-C4D9-4FA2-03E88FD66753}"/>
                  </a:ext>
                </a:extLst>
              </p:cNvPr>
              <p:cNvSpPr/>
              <p:nvPr/>
            </p:nvSpPr>
            <p:spPr>
              <a:xfrm>
                <a:off x="7454879" y="3289300"/>
                <a:ext cx="36425" cy="216069"/>
              </a:xfrm>
              <a:custGeom>
                <a:avLst/>
                <a:gdLst>
                  <a:gd name="connsiteX0" fmla="*/ 0 w 36425"/>
                  <a:gd name="connsiteY0" fmla="*/ 32969 h 216069"/>
                  <a:gd name="connsiteX1" fmla="*/ 0 w 36425"/>
                  <a:gd name="connsiteY1" fmla="*/ 0 h 216069"/>
                  <a:gd name="connsiteX2" fmla="*/ 36426 w 36425"/>
                  <a:gd name="connsiteY2" fmla="*/ 0 h 216069"/>
                  <a:gd name="connsiteX3" fmla="*/ 36426 w 36425"/>
                  <a:gd name="connsiteY3" fmla="*/ 32969 h 216069"/>
                  <a:gd name="connsiteX4" fmla="*/ 0 w 36425"/>
                  <a:gd name="connsiteY4" fmla="*/ 32969 h 216069"/>
                  <a:gd name="connsiteX5" fmla="*/ 1236 w 36425"/>
                  <a:gd name="connsiteY5" fmla="*/ 216069 h 216069"/>
                  <a:gd name="connsiteX6" fmla="*/ 1236 w 36425"/>
                  <a:gd name="connsiteY6" fmla="*/ 66032 h 216069"/>
                  <a:gd name="connsiteX7" fmla="*/ 35284 w 36425"/>
                  <a:gd name="connsiteY7" fmla="*/ 66032 h 216069"/>
                  <a:gd name="connsiteX8" fmla="*/ 35284 w 36425"/>
                  <a:gd name="connsiteY8" fmla="*/ 216069 h 216069"/>
                  <a:gd name="connsiteX9" fmla="*/ 1236 w 36425"/>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25" h="216069">
                    <a:moveTo>
                      <a:pt x="0" y="32969"/>
                    </a:moveTo>
                    <a:lnTo>
                      <a:pt x="0" y="0"/>
                    </a:lnTo>
                    <a:lnTo>
                      <a:pt x="36426" y="0"/>
                    </a:lnTo>
                    <a:lnTo>
                      <a:pt x="36426" y="32969"/>
                    </a:lnTo>
                    <a:lnTo>
                      <a:pt x="0" y="32969"/>
                    </a:lnTo>
                    <a:close/>
                    <a:moveTo>
                      <a:pt x="1236" y="216069"/>
                    </a:moveTo>
                    <a:lnTo>
                      <a:pt x="1236" y="66032"/>
                    </a:lnTo>
                    <a:lnTo>
                      <a:pt x="35284" y="66032"/>
                    </a:lnTo>
                    <a:lnTo>
                      <a:pt x="35284" y="216069"/>
                    </a:lnTo>
                    <a:lnTo>
                      <a:pt x="1236" y="216069"/>
                    </a:lnTo>
                    <a:close/>
                  </a:path>
                </a:pathLst>
              </a:custGeom>
              <a:grpFill/>
              <a:ln w="9503" cap="flat">
                <a:noFill/>
                <a:prstDash val="solid"/>
                <a:miter/>
              </a:ln>
            </p:spPr>
            <p:txBody>
              <a:bodyPr rtlCol="0" anchor="ctr"/>
              <a:lstStyle/>
              <a:p>
                <a:endParaRPr lang="en-DK"/>
              </a:p>
            </p:txBody>
          </p:sp>
          <p:sp>
            <p:nvSpPr>
              <p:cNvPr id="17" name="Freeform 16">
                <a:extLst>
                  <a:ext uri="{FF2B5EF4-FFF2-40B4-BE49-F238E27FC236}">
                    <a16:creationId xmlns:a16="http://schemas.microsoft.com/office/drawing/2014/main" id="{DDD9079C-3418-89B9-1CDA-8ED758EB2F2B}"/>
                  </a:ext>
                </a:extLst>
              </p:cNvPr>
              <p:cNvSpPr/>
              <p:nvPr/>
            </p:nvSpPr>
            <p:spPr>
              <a:xfrm>
                <a:off x="7520502" y="3351326"/>
                <a:ext cx="120689" cy="157954"/>
              </a:xfrm>
              <a:custGeom>
                <a:avLst/>
                <a:gdLst>
                  <a:gd name="connsiteX0" fmla="*/ 61914 w 120689"/>
                  <a:gd name="connsiteY0" fmla="*/ 157954 h 157954"/>
                  <a:gd name="connsiteX1" fmla="*/ 0 w 120689"/>
                  <a:gd name="connsiteY1" fmla="*/ 139048 h 157954"/>
                  <a:gd name="connsiteX2" fmla="*/ 15598 w 120689"/>
                  <a:gd name="connsiteY2" fmla="*/ 115299 h 157954"/>
                  <a:gd name="connsiteX3" fmla="*/ 60678 w 120689"/>
                  <a:gd name="connsiteY3" fmla="*/ 131784 h 157954"/>
                  <a:gd name="connsiteX4" fmla="*/ 85786 w 120689"/>
                  <a:gd name="connsiteY4" fmla="*/ 115020 h 157954"/>
                  <a:gd name="connsiteX5" fmla="*/ 55732 w 120689"/>
                  <a:gd name="connsiteY5" fmla="*/ 91271 h 157954"/>
                  <a:gd name="connsiteX6" fmla="*/ 6372 w 120689"/>
                  <a:gd name="connsiteY6" fmla="*/ 44145 h 157954"/>
                  <a:gd name="connsiteX7" fmla="*/ 64577 w 120689"/>
                  <a:gd name="connsiteY7" fmla="*/ 0 h 157954"/>
                  <a:gd name="connsiteX8" fmla="*/ 118788 w 120689"/>
                  <a:gd name="connsiteY8" fmla="*/ 16205 h 157954"/>
                  <a:gd name="connsiteX9" fmla="*/ 104427 w 120689"/>
                  <a:gd name="connsiteY9" fmla="*/ 39302 h 157954"/>
                  <a:gd name="connsiteX10" fmla="*/ 65528 w 120689"/>
                  <a:gd name="connsiteY10" fmla="*/ 26077 h 157954"/>
                  <a:gd name="connsiteX11" fmla="*/ 41276 w 120689"/>
                  <a:gd name="connsiteY11" fmla="*/ 41724 h 157954"/>
                  <a:gd name="connsiteX12" fmla="*/ 75895 w 120689"/>
                  <a:gd name="connsiteY12" fmla="*/ 64821 h 157954"/>
                  <a:gd name="connsiteX13" fmla="*/ 120690 w 120689"/>
                  <a:gd name="connsiteY13" fmla="*/ 113716 h 157954"/>
                  <a:gd name="connsiteX14" fmla="*/ 61819 w 120689"/>
                  <a:gd name="connsiteY14" fmla="*/ 157861 h 1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689" h="157954">
                    <a:moveTo>
                      <a:pt x="61914" y="157954"/>
                    </a:moveTo>
                    <a:cubicBezTo>
                      <a:pt x="33097" y="157954"/>
                      <a:pt x="16263" y="149572"/>
                      <a:pt x="0" y="139048"/>
                    </a:cubicBezTo>
                    <a:lnTo>
                      <a:pt x="15598" y="115299"/>
                    </a:lnTo>
                    <a:cubicBezTo>
                      <a:pt x="28817" y="124612"/>
                      <a:pt x="44129" y="131784"/>
                      <a:pt x="60678" y="131784"/>
                    </a:cubicBezTo>
                    <a:cubicBezTo>
                      <a:pt x="77226" y="131784"/>
                      <a:pt x="85786" y="124612"/>
                      <a:pt x="85786" y="115020"/>
                    </a:cubicBezTo>
                    <a:cubicBezTo>
                      <a:pt x="85786" y="101795"/>
                      <a:pt x="76941" y="96672"/>
                      <a:pt x="55732" y="91271"/>
                    </a:cubicBezTo>
                    <a:cubicBezTo>
                      <a:pt x="32146" y="85310"/>
                      <a:pt x="6372" y="73855"/>
                      <a:pt x="6372" y="44145"/>
                    </a:cubicBezTo>
                    <a:cubicBezTo>
                      <a:pt x="6372" y="16578"/>
                      <a:pt x="30244" y="0"/>
                      <a:pt x="64577" y="0"/>
                    </a:cubicBezTo>
                    <a:cubicBezTo>
                      <a:pt x="86356" y="0"/>
                      <a:pt x="101669" y="4191"/>
                      <a:pt x="118788" y="16205"/>
                    </a:cubicBezTo>
                    <a:lnTo>
                      <a:pt x="104427" y="39302"/>
                    </a:lnTo>
                    <a:cubicBezTo>
                      <a:pt x="91207" y="29430"/>
                      <a:pt x="74659" y="26077"/>
                      <a:pt x="65528" y="26077"/>
                    </a:cubicBezTo>
                    <a:cubicBezTo>
                      <a:pt x="48029" y="26077"/>
                      <a:pt x="41276" y="32410"/>
                      <a:pt x="41276" y="41724"/>
                    </a:cubicBezTo>
                    <a:cubicBezTo>
                      <a:pt x="41276" y="54669"/>
                      <a:pt x="52594" y="58488"/>
                      <a:pt x="75895" y="64821"/>
                    </a:cubicBezTo>
                    <a:cubicBezTo>
                      <a:pt x="95487" y="69943"/>
                      <a:pt x="120690" y="80095"/>
                      <a:pt x="120690" y="113716"/>
                    </a:cubicBezTo>
                    <a:cubicBezTo>
                      <a:pt x="120690" y="144915"/>
                      <a:pt x="90922" y="157861"/>
                      <a:pt x="61819" y="157861"/>
                    </a:cubicBezTo>
                    <a:close/>
                  </a:path>
                </a:pathLst>
              </a:custGeom>
              <a:grpFill/>
              <a:ln w="9503" cap="flat">
                <a:noFill/>
                <a:prstDash val="solid"/>
                <a:miter/>
              </a:ln>
            </p:spPr>
            <p:txBody>
              <a:bodyPr rtlCol="0" anchor="ctr"/>
              <a:lstStyle/>
              <a:p>
                <a:endParaRPr lang="en-DK"/>
              </a:p>
            </p:txBody>
          </p:sp>
          <p:sp>
            <p:nvSpPr>
              <p:cNvPr id="18" name="Freeform 17">
                <a:extLst>
                  <a:ext uri="{FF2B5EF4-FFF2-40B4-BE49-F238E27FC236}">
                    <a16:creationId xmlns:a16="http://schemas.microsoft.com/office/drawing/2014/main" id="{313D53F9-7610-A6B7-95F8-1D9380D2DB00}"/>
                  </a:ext>
                </a:extLst>
              </p:cNvPr>
              <p:cNvSpPr/>
              <p:nvPr/>
            </p:nvSpPr>
            <p:spPr>
              <a:xfrm>
                <a:off x="7658502" y="3351326"/>
                <a:ext cx="120689" cy="157954"/>
              </a:xfrm>
              <a:custGeom>
                <a:avLst/>
                <a:gdLst>
                  <a:gd name="connsiteX0" fmla="*/ 61914 w 120689"/>
                  <a:gd name="connsiteY0" fmla="*/ 157954 h 157954"/>
                  <a:gd name="connsiteX1" fmla="*/ 0 w 120689"/>
                  <a:gd name="connsiteY1" fmla="*/ 139048 h 157954"/>
                  <a:gd name="connsiteX2" fmla="*/ 15597 w 120689"/>
                  <a:gd name="connsiteY2" fmla="*/ 115299 h 157954"/>
                  <a:gd name="connsiteX3" fmla="*/ 60678 w 120689"/>
                  <a:gd name="connsiteY3" fmla="*/ 131784 h 157954"/>
                  <a:gd name="connsiteX4" fmla="*/ 85786 w 120689"/>
                  <a:gd name="connsiteY4" fmla="*/ 115020 h 157954"/>
                  <a:gd name="connsiteX5" fmla="*/ 55732 w 120689"/>
                  <a:gd name="connsiteY5" fmla="*/ 91271 h 157954"/>
                  <a:gd name="connsiteX6" fmla="*/ 6372 w 120689"/>
                  <a:gd name="connsiteY6" fmla="*/ 44145 h 157954"/>
                  <a:gd name="connsiteX7" fmla="*/ 64577 w 120689"/>
                  <a:gd name="connsiteY7" fmla="*/ 0 h 157954"/>
                  <a:gd name="connsiteX8" fmla="*/ 118788 w 120689"/>
                  <a:gd name="connsiteY8" fmla="*/ 16205 h 157954"/>
                  <a:gd name="connsiteX9" fmla="*/ 104427 w 120689"/>
                  <a:gd name="connsiteY9" fmla="*/ 39302 h 157954"/>
                  <a:gd name="connsiteX10" fmla="*/ 65528 w 120689"/>
                  <a:gd name="connsiteY10" fmla="*/ 26077 h 157954"/>
                  <a:gd name="connsiteX11" fmla="*/ 41276 w 120689"/>
                  <a:gd name="connsiteY11" fmla="*/ 41724 h 157954"/>
                  <a:gd name="connsiteX12" fmla="*/ 75895 w 120689"/>
                  <a:gd name="connsiteY12" fmla="*/ 64821 h 157954"/>
                  <a:gd name="connsiteX13" fmla="*/ 120690 w 120689"/>
                  <a:gd name="connsiteY13" fmla="*/ 113716 h 157954"/>
                  <a:gd name="connsiteX14" fmla="*/ 61819 w 120689"/>
                  <a:gd name="connsiteY14" fmla="*/ 157861 h 1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689" h="157954">
                    <a:moveTo>
                      <a:pt x="61914" y="157954"/>
                    </a:moveTo>
                    <a:cubicBezTo>
                      <a:pt x="33097" y="157954"/>
                      <a:pt x="16263" y="149572"/>
                      <a:pt x="0" y="139048"/>
                    </a:cubicBezTo>
                    <a:lnTo>
                      <a:pt x="15597" y="115299"/>
                    </a:lnTo>
                    <a:cubicBezTo>
                      <a:pt x="28817" y="124612"/>
                      <a:pt x="44129" y="131784"/>
                      <a:pt x="60678" y="131784"/>
                    </a:cubicBezTo>
                    <a:cubicBezTo>
                      <a:pt x="77226" y="131784"/>
                      <a:pt x="85786" y="124612"/>
                      <a:pt x="85786" y="115020"/>
                    </a:cubicBezTo>
                    <a:cubicBezTo>
                      <a:pt x="85786" y="101795"/>
                      <a:pt x="76941" y="96672"/>
                      <a:pt x="55732" y="91271"/>
                    </a:cubicBezTo>
                    <a:cubicBezTo>
                      <a:pt x="32146" y="85310"/>
                      <a:pt x="6372" y="73855"/>
                      <a:pt x="6372" y="44145"/>
                    </a:cubicBezTo>
                    <a:cubicBezTo>
                      <a:pt x="6372" y="16578"/>
                      <a:pt x="30244" y="0"/>
                      <a:pt x="64577" y="0"/>
                    </a:cubicBezTo>
                    <a:cubicBezTo>
                      <a:pt x="86356" y="0"/>
                      <a:pt x="101669" y="4191"/>
                      <a:pt x="118788" y="16205"/>
                    </a:cubicBezTo>
                    <a:lnTo>
                      <a:pt x="104427" y="39302"/>
                    </a:lnTo>
                    <a:cubicBezTo>
                      <a:pt x="91207" y="29430"/>
                      <a:pt x="74659" y="26077"/>
                      <a:pt x="65528" y="26077"/>
                    </a:cubicBezTo>
                    <a:cubicBezTo>
                      <a:pt x="48029" y="26077"/>
                      <a:pt x="41276" y="32410"/>
                      <a:pt x="41276" y="41724"/>
                    </a:cubicBezTo>
                    <a:cubicBezTo>
                      <a:pt x="41276" y="54669"/>
                      <a:pt x="52594" y="58488"/>
                      <a:pt x="75895" y="64821"/>
                    </a:cubicBezTo>
                    <a:cubicBezTo>
                      <a:pt x="95487" y="69943"/>
                      <a:pt x="120690" y="80095"/>
                      <a:pt x="120690" y="113716"/>
                    </a:cubicBezTo>
                    <a:cubicBezTo>
                      <a:pt x="120690" y="144915"/>
                      <a:pt x="90922" y="157861"/>
                      <a:pt x="61819" y="157861"/>
                    </a:cubicBezTo>
                    <a:close/>
                  </a:path>
                </a:pathLst>
              </a:custGeom>
              <a:grpFill/>
              <a:ln w="9503" cap="flat">
                <a:noFill/>
                <a:prstDash val="solid"/>
                <a:miter/>
              </a:ln>
            </p:spPr>
            <p:txBody>
              <a:bodyPr rtlCol="0" anchor="ctr"/>
              <a:lstStyle/>
              <a:p>
                <a:endParaRPr lang="en-DK"/>
              </a:p>
            </p:txBody>
          </p:sp>
          <p:sp>
            <p:nvSpPr>
              <p:cNvPr id="19" name="Freeform 18">
                <a:extLst>
                  <a:ext uri="{FF2B5EF4-FFF2-40B4-BE49-F238E27FC236}">
                    <a16:creationId xmlns:a16="http://schemas.microsoft.com/office/drawing/2014/main" id="{52ACD436-2CDE-B906-60EC-B3E458F5C8AC}"/>
                  </a:ext>
                </a:extLst>
              </p:cNvPr>
              <p:cNvSpPr/>
              <p:nvPr/>
            </p:nvSpPr>
            <p:spPr>
              <a:xfrm>
                <a:off x="7812954" y="3289300"/>
                <a:ext cx="36425" cy="216069"/>
              </a:xfrm>
              <a:custGeom>
                <a:avLst/>
                <a:gdLst>
                  <a:gd name="connsiteX0" fmla="*/ 0 w 36425"/>
                  <a:gd name="connsiteY0" fmla="*/ 32969 h 216069"/>
                  <a:gd name="connsiteX1" fmla="*/ 0 w 36425"/>
                  <a:gd name="connsiteY1" fmla="*/ 0 h 216069"/>
                  <a:gd name="connsiteX2" fmla="*/ 36426 w 36425"/>
                  <a:gd name="connsiteY2" fmla="*/ 0 h 216069"/>
                  <a:gd name="connsiteX3" fmla="*/ 36426 w 36425"/>
                  <a:gd name="connsiteY3" fmla="*/ 32969 h 216069"/>
                  <a:gd name="connsiteX4" fmla="*/ 0 w 36425"/>
                  <a:gd name="connsiteY4" fmla="*/ 32969 h 216069"/>
                  <a:gd name="connsiteX5" fmla="*/ 1236 w 36425"/>
                  <a:gd name="connsiteY5" fmla="*/ 216069 h 216069"/>
                  <a:gd name="connsiteX6" fmla="*/ 1236 w 36425"/>
                  <a:gd name="connsiteY6" fmla="*/ 66032 h 216069"/>
                  <a:gd name="connsiteX7" fmla="*/ 35284 w 36425"/>
                  <a:gd name="connsiteY7" fmla="*/ 66032 h 216069"/>
                  <a:gd name="connsiteX8" fmla="*/ 35284 w 36425"/>
                  <a:gd name="connsiteY8" fmla="*/ 216069 h 216069"/>
                  <a:gd name="connsiteX9" fmla="*/ 1236 w 36425"/>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25" h="216069">
                    <a:moveTo>
                      <a:pt x="0" y="32969"/>
                    </a:moveTo>
                    <a:lnTo>
                      <a:pt x="0" y="0"/>
                    </a:lnTo>
                    <a:lnTo>
                      <a:pt x="36426" y="0"/>
                    </a:lnTo>
                    <a:lnTo>
                      <a:pt x="36426" y="32969"/>
                    </a:lnTo>
                    <a:lnTo>
                      <a:pt x="0" y="32969"/>
                    </a:lnTo>
                    <a:close/>
                    <a:moveTo>
                      <a:pt x="1236" y="216069"/>
                    </a:moveTo>
                    <a:lnTo>
                      <a:pt x="1236" y="66032"/>
                    </a:lnTo>
                    <a:lnTo>
                      <a:pt x="35284" y="66032"/>
                    </a:lnTo>
                    <a:lnTo>
                      <a:pt x="35284" y="216069"/>
                    </a:lnTo>
                    <a:lnTo>
                      <a:pt x="1236" y="216069"/>
                    </a:lnTo>
                    <a:close/>
                  </a:path>
                </a:pathLst>
              </a:custGeom>
              <a:grpFill/>
              <a:ln w="9503" cap="flat">
                <a:noFill/>
                <a:prstDash val="solid"/>
                <a:miter/>
              </a:ln>
            </p:spPr>
            <p:txBody>
              <a:bodyPr rtlCol="0" anchor="ctr"/>
              <a:lstStyle/>
              <a:p>
                <a:endParaRPr lang="en-DK"/>
              </a:p>
            </p:txBody>
          </p:sp>
          <p:sp>
            <p:nvSpPr>
              <p:cNvPr id="20" name="Freeform 19">
                <a:extLst>
                  <a:ext uri="{FF2B5EF4-FFF2-40B4-BE49-F238E27FC236}">
                    <a16:creationId xmlns:a16="http://schemas.microsoft.com/office/drawing/2014/main" id="{EC99BA9E-6F6A-5661-708B-071637D595EE}"/>
                  </a:ext>
                </a:extLst>
              </p:cNvPr>
              <p:cNvSpPr/>
              <p:nvPr/>
            </p:nvSpPr>
            <p:spPr>
              <a:xfrm>
                <a:off x="7884664" y="3351140"/>
                <a:ext cx="147795" cy="158419"/>
              </a:xfrm>
              <a:custGeom>
                <a:avLst/>
                <a:gdLst>
                  <a:gd name="connsiteX0" fmla="*/ 73898 w 147795"/>
                  <a:gd name="connsiteY0" fmla="*/ 158420 h 158419"/>
                  <a:gd name="connsiteX1" fmla="*/ 0 w 147795"/>
                  <a:gd name="connsiteY1" fmla="*/ 78605 h 158419"/>
                  <a:gd name="connsiteX2" fmla="*/ 73898 w 147795"/>
                  <a:gd name="connsiteY2" fmla="*/ 0 h 158419"/>
                  <a:gd name="connsiteX3" fmla="*/ 147795 w 147795"/>
                  <a:gd name="connsiteY3" fmla="*/ 78605 h 158419"/>
                  <a:gd name="connsiteX4" fmla="*/ 73898 w 147795"/>
                  <a:gd name="connsiteY4" fmla="*/ 158420 h 158419"/>
                  <a:gd name="connsiteX5" fmla="*/ 73898 w 147795"/>
                  <a:gd name="connsiteY5" fmla="*/ 26357 h 158419"/>
                  <a:gd name="connsiteX6" fmla="*/ 34714 w 147795"/>
                  <a:gd name="connsiteY6" fmla="*/ 78605 h 158419"/>
                  <a:gd name="connsiteX7" fmla="*/ 73898 w 147795"/>
                  <a:gd name="connsiteY7" fmla="*/ 132063 h 158419"/>
                  <a:gd name="connsiteX8" fmla="*/ 113081 w 147795"/>
                  <a:gd name="connsiteY8" fmla="*/ 78605 h 158419"/>
                  <a:gd name="connsiteX9" fmla="*/ 73898 w 147795"/>
                  <a:gd name="connsiteY9" fmla="*/ 26357 h 1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95" h="158419">
                    <a:moveTo>
                      <a:pt x="73898" y="158420"/>
                    </a:moveTo>
                    <a:cubicBezTo>
                      <a:pt x="26725" y="158420"/>
                      <a:pt x="0" y="124799"/>
                      <a:pt x="0" y="78605"/>
                    </a:cubicBezTo>
                    <a:cubicBezTo>
                      <a:pt x="0" y="32410"/>
                      <a:pt x="27581" y="0"/>
                      <a:pt x="73898" y="0"/>
                    </a:cubicBezTo>
                    <a:cubicBezTo>
                      <a:pt x="120214" y="0"/>
                      <a:pt x="147795" y="32410"/>
                      <a:pt x="147795" y="78605"/>
                    </a:cubicBezTo>
                    <a:cubicBezTo>
                      <a:pt x="147795" y="124799"/>
                      <a:pt x="120214" y="158420"/>
                      <a:pt x="73898" y="158420"/>
                    </a:cubicBezTo>
                    <a:close/>
                    <a:moveTo>
                      <a:pt x="73898" y="26357"/>
                    </a:moveTo>
                    <a:cubicBezTo>
                      <a:pt x="47838" y="26357"/>
                      <a:pt x="34714" y="47405"/>
                      <a:pt x="34714" y="78605"/>
                    </a:cubicBezTo>
                    <a:cubicBezTo>
                      <a:pt x="34714" y="109804"/>
                      <a:pt x="48504" y="132063"/>
                      <a:pt x="73898" y="132063"/>
                    </a:cubicBezTo>
                    <a:cubicBezTo>
                      <a:pt x="99291" y="132063"/>
                      <a:pt x="113081" y="109897"/>
                      <a:pt x="113081" y="78605"/>
                    </a:cubicBezTo>
                    <a:cubicBezTo>
                      <a:pt x="113081" y="47312"/>
                      <a:pt x="99006" y="26357"/>
                      <a:pt x="73898" y="26357"/>
                    </a:cubicBezTo>
                    <a:close/>
                  </a:path>
                </a:pathLst>
              </a:custGeom>
              <a:grpFill/>
              <a:ln w="9503" cap="flat">
                <a:noFill/>
                <a:prstDash val="solid"/>
                <a:miter/>
              </a:ln>
            </p:spPr>
            <p:txBody>
              <a:bodyPr rtlCol="0" anchor="ctr"/>
              <a:lstStyle/>
              <a:p>
                <a:endParaRPr lang="en-DK"/>
              </a:p>
            </p:txBody>
          </p:sp>
          <p:sp>
            <p:nvSpPr>
              <p:cNvPr id="21" name="Freeform 20">
                <a:extLst>
                  <a:ext uri="{FF2B5EF4-FFF2-40B4-BE49-F238E27FC236}">
                    <a16:creationId xmlns:a16="http://schemas.microsoft.com/office/drawing/2014/main" id="{3C30D454-620F-5F96-8B5F-6019B33FDC3B}"/>
                  </a:ext>
                </a:extLst>
              </p:cNvPr>
              <p:cNvSpPr/>
              <p:nvPr/>
            </p:nvSpPr>
            <p:spPr>
              <a:xfrm>
                <a:off x="8066222" y="3351140"/>
                <a:ext cx="130105" cy="154228"/>
              </a:xfrm>
              <a:custGeom>
                <a:avLst/>
                <a:gdLst>
                  <a:gd name="connsiteX0" fmla="*/ 96248 w 130105"/>
                  <a:gd name="connsiteY0" fmla="*/ 154229 h 154228"/>
                  <a:gd name="connsiteX1" fmla="*/ 96248 w 130105"/>
                  <a:gd name="connsiteY1" fmla="*/ 67242 h 154228"/>
                  <a:gd name="connsiteX2" fmla="*/ 67716 w 130105"/>
                  <a:gd name="connsiteY2" fmla="*/ 27288 h 154228"/>
                  <a:gd name="connsiteX3" fmla="*/ 35570 w 130105"/>
                  <a:gd name="connsiteY3" fmla="*/ 47684 h 154228"/>
                  <a:gd name="connsiteX4" fmla="*/ 35570 w 130105"/>
                  <a:gd name="connsiteY4" fmla="*/ 154229 h 154228"/>
                  <a:gd name="connsiteX5" fmla="*/ 1522 w 130105"/>
                  <a:gd name="connsiteY5" fmla="*/ 154229 h 154228"/>
                  <a:gd name="connsiteX6" fmla="*/ 1522 w 130105"/>
                  <a:gd name="connsiteY6" fmla="*/ 31200 h 154228"/>
                  <a:gd name="connsiteX7" fmla="*/ 0 w 130105"/>
                  <a:gd name="connsiteY7" fmla="*/ 4191 h 154228"/>
                  <a:gd name="connsiteX8" fmla="*/ 26630 w 130105"/>
                  <a:gd name="connsiteY8" fmla="*/ 4191 h 154228"/>
                  <a:gd name="connsiteX9" fmla="*/ 29958 w 130105"/>
                  <a:gd name="connsiteY9" fmla="*/ 23376 h 154228"/>
                  <a:gd name="connsiteX10" fmla="*/ 75895 w 130105"/>
                  <a:gd name="connsiteY10" fmla="*/ 0 h 154228"/>
                  <a:gd name="connsiteX11" fmla="*/ 130105 w 130105"/>
                  <a:gd name="connsiteY11" fmla="*/ 69291 h 154228"/>
                  <a:gd name="connsiteX12" fmla="*/ 130105 w 130105"/>
                  <a:gd name="connsiteY12" fmla="*/ 154229 h 154228"/>
                  <a:gd name="connsiteX13" fmla="*/ 96057 w 130105"/>
                  <a:gd name="connsiteY13" fmla="*/ 154229 h 15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105" h="154228">
                    <a:moveTo>
                      <a:pt x="96248" y="154229"/>
                    </a:moveTo>
                    <a:lnTo>
                      <a:pt x="96248" y="67242"/>
                    </a:lnTo>
                    <a:cubicBezTo>
                      <a:pt x="96248" y="42934"/>
                      <a:pt x="91017" y="27288"/>
                      <a:pt x="67716" y="27288"/>
                    </a:cubicBezTo>
                    <a:cubicBezTo>
                      <a:pt x="53925" y="27288"/>
                      <a:pt x="43178" y="37533"/>
                      <a:pt x="35570" y="47684"/>
                    </a:cubicBezTo>
                    <a:lnTo>
                      <a:pt x="35570" y="154229"/>
                    </a:lnTo>
                    <a:lnTo>
                      <a:pt x="1522" y="154229"/>
                    </a:lnTo>
                    <a:lnTo>
                      <a:pt x="1522" y="31200"/>
                    </a:lnTo>
                    <a:cubicBezTo>
                      <a:pt x="1522" y="26077"/>
                      <a:pt x="285" y="9313"/>
                      <a:pt x="0" y="4191"/>
                    </a:cubicBezTo>
                    <a:lnTo>
                      <a:pt x="26630" y="4191"/>
                    </a:lnTo>
                    <a:lnTo>
                      <a:pt x="29958" y="23376"/>
                    </a:lnTo>
                    <a:cubicBezTo>
                      <a:pt x="39184" y="10803"/>
                      <a:pt x="54781" y="0"/>
                      <a:pt x="75895" y="0"/>
                    </a:cubicBezTo>
                    <a:cubicBezTo>
                      <a:pt x="115459" y="0"/>
                      <a:pt x="130105" y="21048"/>
                      <a:pt x="130105" y="69291"/>
                    </a:cubicBezTo>
                    <a:lnTo>
                      <a:pt x="130105" y="154229"/>
                    </a:lnTo>
                    <a:lnTo>
                      <a:pt x="96057" y="154229"/>
                    </a:lnTo>
                    <a:close/>
                  </a:path>
                </a:pathLst>
              </a:custGeom>
              <a:grpFill/>
              <a:ln w="9503" cap="flat">
                <a:noFill/>
                <a:prstDash val="solid"/>
                <a:miter/>
              </a:ln>
            </p:spPr>
            <p:txBody>
              <a:bodyPr rtlCol="0" anchor="ctr"/>
              <a:lstStyle/>
              <a:p>
                <a:endParaRPr lang="en-DK"/>
              </a:p>
            </p:txBody>
          </p:sp>
        </p:grpSp>
      </p:grpSp>
    </p:spTree>
    <p:extLst>
      <p:ext uri="{BB962C8B-B14F-4D97-AF65-F5344CB8AC3E}">
        <p14:creationId xmlns:p14="http://schemas.microsoft.com/office/powerpoint/2010/main" val="81419162"/>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lide_1">
    <p:spTree>
      <p:nvGrpSpPr>
        <p:cNvPr id="1" name=""/>
        <p:cNvGrpSpPr/>
        <p:nvPr/>
      </p:nvGrpSpPr>
      <p:grpSpPr>
        <a:xfrm>
          <a:off x="0" y="0"/>
          <a:ext cx="0" cy="0"/>
          <a:chOff x="0" y="0"/>
          <a:chExt cx="0" cy="0"/>
        </a:xfrm>
      </p:grpSpPr>
      <p:pic>
        <p:nvPicPr>
          <p:cNvPr id="3" name="Picture Placeholder 5" descr="Piedmont Park with trees and buildings&#10;&#10;Description automatically generated with medium confidence">
            <a:extLst>
              <a:ext uri="{FF2B5EF4-FFF2-40B4-BE49-F238E27FC236}">
                <a16:creationId xmlns:a16="http://schemas.microsoft.com/office/drawing/2014/main" id="{A2B98E70-DD09-A727-82B8-7A74BC3A672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1406538"/>
            <a:ext cx="12192000" cy="5451462"/>
          </a:xfrm>
          <a:prstGeom prst="rect">
            <a:avLst/>
          </a:prstGeom>
          <a:noFill/>
        </p:spPr>
      </p:pic>
      <p:sp>
        <p:nvSpPr>
          <p:cNvPr id="10" name="Rectangle 9">
            <a:extLst>
              <a:ext uri="{FF2B5EF4-FFF2-40B4-BE49-F238E27FC236}">
                <a16:creationId xmlns:a16="http://schemas.microsoft.com/office/drawing/2014/main" id="{263B3967-EA49-A1C5-F447-E8DD29D1EF97}"/>
              </a:ext>
            </a:extLst>
          </p:cNvPr>
          <p:cNvSpPr/>
          <p:nvPr userDrawn="1"/>
        </p:nvSpPr>
        <p:spPr>
          <a:xfrm>
            <a:off x="0" y="6138000"/>
            <a:ext cx="12192000" cy="720000"/>
          </a:xfrm>
          <a:prstGeom prst="rect">
            <a:avLst/>
          </a:prstGeom>
          <a:gradFill flip="none" rotWithShape="1">
            <a:gsLst>
              <a:gs pos="100000">
                <a:schemeClr val="tx1">
                  <a:lumMod val="50000"/>
                  <a:alpha val="0"/>
                </a:schemeClr>
              </a:gs>
              <a:gs pos="0">
                <a:schemeClr val="tx1">
                  <a:lumMod val="50000"/>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 name="Rectangle 7">
            <a:extLst>
              <a:ext uri="{FF2B5EF4-FFF2-40B4-BE49-F238E27FC236}">
                <a16:creationId xmlns:a16="http://schemas.microsoft.com/office/drawing/2014/main" id="{D6EB39AA-0674-E992-C149-C759EB9104EE}"/>
              </a:ext>
            </a:extLst>
          </p:cNvPr>
          <p:cNvSpPr/>
          <p:nvPr userDrawn="1"/>
        </p:nvSpPr>
        <p:spPr>
          <a:xfrm>
            <a:off x="0" y="1406537"/>
            <a:ext cx="9854537" cy="5451463"/>
          </a:xfrm>
          <a:prstGeom prst="rect">
            <a:avLst/>
          </a:prstGeom>
          <a:gradFill>
            <a:gsLst>
              <a:gs pos="79000">
                <a:schemeClr val="accent1">
                  <a:alpha val="0"/>
                </a:schemeClr>
              </a:gs>
              <a:gs pos="0">
                <a:schemeClr val="tx2">
                  <a:alpha val="95000"/>
                </a:schemeClr>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0641DD1-7679-677C-E5F7-106CA2181E11}"/>
              </a:ext>
            </a:extLst>
          </p:cNvPr>
          <p:cNvSpPr>
            <a:spLocks noGrp="1"/>
          </p:cNvSpPr>
          <p:nvPr>
            <p:ph type="ctrTitle"/>
          </p:nvPr>
        </p:nvSpPr>
        <p:spPr>
          <a:xfrm>
            <a:off x="453678" y="2276475"/>
            <a:ext cx="10801350" cy="2305050"/>
          </a:xfrm>
          <a:noFill/>
        </p:spPr>
        <p:txBody>
          <a:bodyPr anchor="b" anchorCtr="0">
            <a:noAutofit/>
          </a:bodyPr>
          <a:lstStyle>
            <a:lvl1pPr algn="l">
              <a:defRPr sz="5400" b="1">
                <a:solidFill>
                  <a:schemeClr val="bg1"/>
                </a:solidFill>
              </a:defRPr>
            </a:lvl1pPr>
          </a:lstStyle>
          <a:p>
            <a:r>
              <a:rPr lang="en-GB"/>
              <a:t>Click to edit Master title style</a:t>
            </a:r>
            <a:endParaRPr lang="en-DK"/>
          </a:p>
        </p:txBody>
      </p:sp>
      <p:sp>
        <p:nvSpPr>
          <p:cNvPr id="6" name="Subtitle 2">
            <a:extLst>
              <a:ext uri="{FF2B5EF4-FFF2-40B4-BE49-F238E27FC236}">
                <a16:creationId xmlns:a16="http://schemas.microsoft.com/office/drawing/2014/main" id="{BB33BBA0-4572-0EFB-9D24-1C221E3044B7}"/>
              </a:ext>
            </a:extLst>
          </p:cNvPr>
          <p:cNvSpPr>
            <a:spLocks noGrp="1"/>
          </p:cNvSpPr>
          <p:nvPr>
            <p:ph type="subTitle" idx="1"/>
          </p:nvPr>
        </p:nvSpPr>
        <p:spPr>
          <a:xfrm>
            <a:off x="442914" y="4972430"/>
            <a:ext cx="7632700" cy="307777"/>
          </a:xfrm>
        </p:spPr>
        <p:txBody>
          <a:bodyPr anchor="t" anchorCtr="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DK"/>
          </a:p>
        </p:txBody>
      </p:sp>
      <p:pic>
        <p:nvPicPr>
          <p:cNvPr id="7" name="Picture 6">
            <a:extLst>
              <a:ext uri="{FF2B5EF4-FFF2-40B4-BE49-F238E27FC236}">
                <a16:creationId xmlns:a16="http://schemas.microsoft.com/office/drawing/2014/main" id="{D8DDA069-1327-124F-225A-A74D981CE04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098761"/>
            <a:ext cx="12192000" cy="307777"/>
          </a:xfrm>
          <a:prstGeom prst="rect">
            <a:avLst/>
          </a:prstGeom>
        </p:spPr>
      </p:pic>
      <p:grpSp>
        <p:nvGrpSpPr>
          <p:cNvPr id="12" name="Graphic 17">
            <a:extLst>
              <a:ext uri="{FF2B5EF4-FFF2-40B4-BE49-F238E27FC236}">
                <a16:creationId xmlns:a16="http://schemas.microsoft.com/office/drawing/2014/main" id="{842BF3AA-0DBD-3297-1431-ED48CF0F71E2}"/>
              </a:ext>
            </a:extLst>
          </p:cNvPr>
          <p:cNvGrpSpPr>
            <a:grpSpLocks noChangeAspect="1"/>
          </p:cNvGrpSpPr>
          <p:nvPr userDrawn="1"/>
        </p:nvGrpSpPr>
        <p:grpSpPr>
          <a:xfrm>
            <a:off x="9103088" y="6458998"/>
            <a:ext cx="2646000" cy="177687"/>
            <a:chOff x="3994150" y="3289300"/>
            <a:chExt cx="4202178" cy="282193"/>
          </a:xfrm>
          <a:solidFill>
            <a:schemeClr val="bg1"/>
          </a:solidFill>
        </p:grpSpPr>
        <p:grpSp>
          <p:nvGrpSpPr>
            <p:cNvPr id="13" name="Graphic 17">
              <a:extLst>
                <a:ext uri="{FF2B5EF4-FFF2-40B4-BE49-F238E27FC236}">
                  <a16:creationId xmlns:a16="http://schemas.microsoft.com/office/drawing/2014/main" id="{16A51C42-1309-6349-3930-422884ACDD8A}"/>
                </a:ext>
              </a:extLst>
            </p:cNvPr>
            <p:cNvGrpSpPr/>
            <p:nvPr/>
          </p:nvGrpSpPr>
          <p:grpSpPr>
            <a:xfrm>
              <a:off x="3994150" y="3289300"/>
              <a:ext cx="2355593" cy="276140"/>
              <a:chOff x="3994150" y="3289300"/>
              <a:chExt cx="2355593" cy="276140"/>
            </a:xfrm>
            <a:grpFill/>
          </p:grpSpPr>
          <p:sp>
            <p:nvSpPr>
              <p:cNvPr id="26" name="Freeform 25">
                <a:extLst>
                  <a:ext uri="{FF2B5EF4-FFF2-40B4-BE49-F238E27FC236}">
                    <a16:creationId xmlns:a16="http://schemas.microsoft.com/office/drawing/2014/main" id="{638AD2AF-5C7E-9003-37E7-CCC3343DB851}"/>
                  </a:ext>
                </a:extLst>
              </p:cNvPr>
              <p:cNvSpPr/>
              <p:nvPr/>
            </p:nvSpPr>
            <p:spPr>
              <a:xfrm>
                <a:off x="3994150" y="3293770"/>
                <a:ext cx="153596" cy="211598"/>
              </a:xfrm>
              <a:custGeom>
                <a:avLst/>
                <a:gdLst>
                  <a:gd name="connsiteX0" fmla="*/ 86452 w 153596"/>
                  <a:gd name="connsiteY0" fmla="*/ 16857 h 211598"/>
                  <a:gd name="connsiteX1" fmla="*/ 86452 w 153596"/>
                  <a:gd name="connsiteY1" fmla="*/ 211599 h 211598"/>
                  <a:gd name="connsiteX2" fmla="*/ 67145 w 153596"/>
                  <a:gd name="connsiteY2" fmla="*/ 211599 h 211598"/>
                  <a:gd name="connsiteX3" fmla="*/ 67145 w 153596"/>
                  <a:gd name="connsiteY3" fmla="*/ 16857 h 211598"/>
                  <a:gd name="connsiteX4" fmla="*/ 0 w 153596"/>
                  <a:gd name="connsiteY4" fmla="*/ 16857 h 211598"/>
                  <a:gd name="connsiteX5" fmla="*/ 0 w 153596"/>
                  <a:gd name="connsiteY5" fmla="*/ 0 h 211598"/>
                  <a:gd name="connsiteX6" fmla="*/ 153597 w 153596"/>
                  <a:gd name="connsiteY6" fmla="*/ 0 h 211598"/>
                  <a:gd name="connsiteX7" fmla="*/ 153597 w 153596"/>
                  <a:gd name="connsiteY7" fmla="*/ 16764 h 211598"/>
                  <a:gd name="connsiteX8" fmla="*/ 86452 w 153596"/>
                  <a:gd name="connsiteY8" fmla="*/ 16764 h 21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596" h="211598">
                    <a:moveTo>
                      <a:pt x="86452" y="16857"/>
                    </a:moveTo>
                    <a:lnTo>
                      <a:pt x="86452" y="211599"/>
                    </a:lnTo>
                    <a:lnTo>
                      <a:pt x="67145" y="211599"/>
                    </a:lnTo>
                    <a:lnTo>
                      <a:pt x="67145" y="16857"/>
                    </a:lnTo>
                    <a:lnTo>
                      <a:pt x="0" y="16857"/>
                    </a:lnTo>
                    <a:lnTo>
                      <a:pt x="0" y="0"/>
                    </a:lnTo>
                    <a:lnTo>
                      <a:pt x="153597" y="0"/>
                    </a:lnTo>
                    <a:lnTo>
                      <a:pt x="153597" y="16764"/>
                    </a:lnTo>
                    <a:lnTo>
                      <a:pt x="86452" y="16764"/>
                    </a:lnTo>
                    <a:close/>
                  </a:path>
                </a:pathLst>
              </a:custGeom>
              <a:grpFill/>
              <a:ln w="9503" cap="flat">
                <a:noFill/>
                <a:prstDash val="solid"/>
                <a:miter/>
              </a:ln>
            </p:spPr>
            <p:txBody>
              <a:bodyPr rtlCol="0" anchor="ctr"/>
              <a:lstStyle/>
              <a:p>
                <a:endParaRPr lang="en-DK"/>
              </a:p>
            </p:txBody>
          </p:sp>
          <p:sp>
            <p:nvSpPr>
              <p:cNvPr id="27" name="Freeform 26">
                <a:extLst>
                  <a:ext uri="{FF2B5EF4-FFF2-40B4-BE49-F238E27FC236}">
                    <a16:creationId xmlns:a16="http://schemas.microsoft.com/office/drawing/2014/main" id="{9E319C03-71A8-FDC4-0458-2B3CE0E80709}"/>
                  </a:ext>
                </a:extLst>
              </p:cNvPr>
              <p:cNvSpPr/>
              <p:nvPr/>
            </p:nvSpPr>
            <p:spPr>
              <a:xfrm>
                <a:off x="4182936" y="3289300"/>
                <a:ext cx="113461" cy="216162"/>
              </a:xfrm>
              <a:custGeom>
                <a:avLst/>
                <a:gdLst>
                  <a:gd name="connsiteX0" fmla="*/ 94726 w 113461"/>
                  <a:gd name="connsiteY0" fmla="*/ 216069 h 216162"/>
                  <a:gd name="connsiteX1" fmla="*/ 94726 w 113461"/>
                  <a:gd name="connsiteY1" fmla="*/ 120701 h 216162"/>
                  <a:gd name="connsiteX2" fmla="*/ 58586 w 113461"/>
                  <a:gd name="connsiteY2" fmla="*/ 78418 h 216162"/>
                  <a:gd name="connsiteX3" fmla="*/ 18736 w 113461"/>
                  <a:gd name="connsiteY3" fmla="*/ 102726 h 216162"/>
                  <a:gd name="connsiteX4" fmla="*/ 18736 w 113461"/>
                  <a:gd name="connsiteY4" fmla="*/ 216162 h 216162"/>
                  <a:gd name="connsiteX5" fmla="*/ 0 w 113461"/>
                  <a:gd name="connsiteY5" fmla="*/ 216162 h 216162"/>
                  <a:gd name="connsiteX6" fmla="*/ 0 w 113461"/>
                  <a:gd name="connsiteY6" fmla="*/ 0 h 216162"/>
                  <a:gd name="connsiteX7" fmla="*/ 18736 w 113461"/>
                  <a:gd name="connsiteY7" fmla="*/ 0 h 216162"/>
                  <a:gd name="connsiteX8" fmla="*/ 18736 w 113461"/>
                  <a:gd name="connsiteY8" fmla="*/ 84658 h 216162"/>
                  <a:gd name="connsiteX9" fmla="*/ 62580 w 113461"/>
                  <a:gd name="connsiteY9" fmla="*/ 62772 h 216162"/>
                  <a:gd name="connsiteX10" fmla="*/ 113462 w 113461"/>
                  <a:gd name="connsiteY10" fmla="*/ 122191 h 216162"/>
                  <a:gd name="connsiteX11" fmla="*/ 113462 w 113461"/>
                  <a:gd name="connsiteY11" fmla="*/ 216162 h 216162"/>
                  <a:gd name="connsiteX12" fmla="*/ 94726 w 113461"/>
                  <a:gd name="connsiteY12" fmla="*/ 216162 h 21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461" h="216162">
                    <a:moveTo>
                      <a:pt x="94726" y="216069"/>
                    </a:moveTo>
                    <a:lnTo>
                      <a:pt x="94726" y="120701"/>
                    </a:lnTo>
                    <a:cubicBezTo>
                      <a:pt x="94726" y="93133"/>
                      <a:pt x="83694" y="78418"/>
                      <a:pt x="58586" y="78418"/>
                    </a:cubicBezTo>
                    <a:cubicBezTo>
                      <a:pt x="39850" y="78418"/>
                      <a:pt x="26725" y="90991"/>
                      <a:pt x="18736" y="102726"/>
                    </a:cubicBezTo>
                    <a:lnTo>
                      <a:pt x="18736" y="216162"/>
                    </a:lnTo>
                    <a:lnTo>
                      <a:pt x="0" y="216162"/>
                    </a:lnTo>
                    <a:lnTo>
                      <a:pt x="0" y="0"/>
                    </a:lnTo>
                    <a:lnTo>
                      <a:pt x="18736" y="0"/>
                    </a:lnTo>
                    <a:lnTo>
                      <a:pt x="18736" y="84658"/>
                    </a:lnTo>
                    <a:cubicBezTo>
                      <a:pt x="28532" y="71713"/>
                      <a:pt x="43844" y="62772"/>
                      <a:pt x="62580" y="62772"/>
                    </a:cubicBezTo>
                    <a:cubicBezTo>
                      <a:pt x="101193" y="62772"/>
                      <a:pt x="113462" y="86800"/>
                      <a:pt x="113462" y="122191"/>
                    </a:cubicBezTo>
                    <a:lnTo>
                      <a:pt x="113462" y="216162"/>
                    </a:lnTo>
                    <a:lnTo>
                      <a:pt x="94726" y="216162"/>
                    </a:lnTo>
                    <a:close/>
                  </a:path>
                </a:pathLst>
              </a:custGeom>
              <a:grpFill/>
              <a:ln w="9503" cap="flat">
                <a:noFill/>
                <a:prstDash val="solid"/>
                <a:miter/>
              </a:ln>
            </p:spPr>
            <p:txBody>
              <a:bodyPr rtlCol="0" anchor="ctr"/>
              <a:lstStyle/>
              <a:p>
                <a:endParaRPr lang="en-DK"/>
              </a:p>
            </p:txBody>
          </p:sp>
          <p:sp>
            <p:nvSpPr>
              <p:cNvPr id="28" name="Freeform 27">
                <a:extLst>
                  <a:ext uri="{FF2B5EF4-FFF2-40B4-BE49-F238E27FC236}">
                    <a16:creationId xmlns:a16="http://schemas.microsoft.com/office/drawing/2014/main" id="{26AB0F95-0D2E-7925-292D-3B787F2866C7}"/>
                  </a:ext>
                </a:extLst>
              </p:cNvPr>
              <p:cNvSpPr/>
              <p:nvPr/>
            </p:nvSpPr>
            <p:spPr>
              <a:xfrm>
                <a:off x="4338434"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29" name="Freeform 28">
                <a:extLst>
                  <a:ext uri="{FF2B5EF4-FFF2-40B4-BE49-F238E27FC236}">
                    <a16:creationId xmlns:a16="http://schemas.microsoft.com/office/drawing/2014/main" id="{0F387F20-ECFE-7FF7-20DF-4F503B37A167}"/>
                  </a:ext>
                </a:extLst>
              </p:cNvPr>
              <p:cNvSpPr/>
              <p:nvPr/>
            </p:nvSpPr>
            <p:spPr>
              <a:xfrm>
                <a:off x="4595317" y="3352071"/>
                <a:ext cx="123828" cy="213368"/>
              </a:xfrm>
              <a:custGeom>
                <a:avLst/>
                <a:gdLst>
                  <a:gd name="connsiteX0" fmla="*/ 62865 w 123828"/>
                  <a:gd name="connsiteY0" fmla="*/ 156650 h 213368"/>
                  <a:gd name="connsiteX1" fmla="*/ 19687 w 123828"/>
                  <a:gd name="connsiteY1" fmla="*/ 138676 h 213368"/>
                  <a:gd name="connsiteX2" fmla="*/ 19687 w 123828"/>
                  <a:gd name="connsiteY2" fmla="*/ 213368 h 213368"/>
                  <a:gd name="connsiteX3" fmla="*/ 951 w 123828"/>
                  <a:gd name="connsiteY3" fmla="*/ 213368 h 213368"/>
                  <a:gd name="connsiteX4" fmla="*/ 951 w 123828"/>
                  <a:gd name="connsiteY4" fmla="*/ 31479 h 213368"/>
                  <a:gd name="connsiteX5" fmla="*/ 0 w 123828"/>
                  <a:gd name="connsiteY5" fmla="*/ 3260 h 213368"/>
                  <a:gd name="connsiteX6" fmla="*/ 15597 w 123828"/>
                  <a:gd name="connsiteY6" fmla="*/ 3260 h 213368"/>
                  <a:gd name="connsiteX7" fmla="*/ 17119 w 123828"/>
                  <a:gd name="connsiteY7" fmla="*/ 26077 h 213368"/>
                  <a:gd name="connsiteX8" fmla="*/ 65243 w 123828"/>
                  <a:gd name="connsiteY8" fmla="*/ 0 h 213368"/>
                  <a:gd name="connsiteX9" fmla="*/ 123828 w 123828"/>
                  <a:gd name="connsiteY9" fmla="*/ 76835 h 213368"/>
                  <a:gd name="connsiteX10" fmla="*/ 62865 w 123828"/>
                  <a:gd name="connsiteY10" fmla="*/ 156650 h 213368"/>
                  <a:gd name="connsiteX11" fmla="*/ 61058 w 123828"/>
                  <a:gd name="connsiteY11" fmla="*/ 15274 h 213368"/>
                  <a:gd name="connsiteX12" fmla="*/ 19687 w 123828"/>
                  <a:gd name="connsiteY12" fmla="*/ 42003 h 213368"/>
                  <a:gd name="connsiteX13" fmla="*/ 19687 w 123828"/>
                  <a:gd name="connsiteY13" fmla="*/ 123309 h 213368"/>
                  <a:gd name="connsiteX14" fmla="*/ 58300 w 123828"/>
                  <a:gd name="connsiteY14" fmla="*/ 141283 h 213368"/>
                  <a:gd name="connsiteX15" fmla="*/ 104237 w 123828"/>
                  <a:gd name="connsiteY15" fmla="*/ 78232 h 213368"/>
                  <a:gd name="connsiteX16" fmla="*/ 61058 w 123828"/>
                  <a:gd name="connsiteY16" fmla="*/ 15181 h 21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828" h="213368">
                    <a:moveTo>
                      <a:pt x="62865" y="156650"/>
                    </a:moveTo>
                    <a:cubicBezTo>
                      <a:pt x="44129" y="156650"/>
                      <a:pt x="28817" y="149758"/>
                      <a:pt x="19687" y="138676"/>
                    </a:cubicBezTo>
                    <a:lnTo>
                      <a:pt x="19687" y="213368"/>
                    </a:lnTo>
                    <a:lnTo>
                      <a:pt x="951" y="213368"/>
                    </a:lnTo>
                    <a:lnTo>
                      <a:pt x="951" y="31479"/>
                    </a:lnTo>
                    <a:cubicBezTo>
                      <a:pt x="951" y="24308"/>
                      <a:pt x="380" y="9872"/>
                      <a:pt x="0" y="3260"/>
                    </a:cubicBezTo>
                    <a:lnTo>
                      <a:pt x="15597" y="3260"/>
                    </a:lnTo>
                    <a:lnTo>
                      <a:pt x="17119" y="26077"/>
                    </a:lnTo>
                    <a:cubicBezTo>
                      <a:pt x="27200" y="13132"/>
                      <a:pt x="40420" y="0"/>
                      <a:pt x="65243" y="0"/>
                    </a:cubicBezTo>
                    <a:cubicBezTo>
                      <a:pt x="102334" y="0"/>
                      <a:pt x="123828" y="32131"/>
                      <a:pt x="123828" y="76835"/>
                    </a:cubicBezTo>
                    <a:cubicBezTo>
                      <a:pt x="123828" y="121539"/>
                      <a:pt x="102049" y="156650"/>
                      <a:pt x="62865" y="156650"/>
                    </a:cubicBezTo>
                    <a:close/>
                    <a:moveTo>
                      <a:pt x="61058" y="15274"/>
                    </a:moveTo>
                    <a:cubicBezTo>
                      <a:pt x="40515" y="15274"/>
                      <a:pt x="26440" y="32410"/>
                      <a:pt x="19687" y="42003"/>
                    </a:cubicBezTo>
                    <a:lnTo>
                      <a:pt x="19687" y="123309"/>
                    </a:lnTo>
                    <a:cubicBezTo>
                      <a:pt x="28247" y="132622"/>
                      <a:pt x="39564" y="141283"/>
                      <a:pt x="58300" y="141283"/>
                    </a:cubicBezTo>
                    <a:cubicBezTo>
                      <a:pt x="83123" y="141283"/>
                      <a:pt x="104237" y="121446"/>
                      <a:pt x="104237" y="78232"/>
                    </a:cubicBezTo>
                    <a:cubicBezTo>
                      <a:pt x="104237" y="35018"/>
                      <a:pt x="86166" y="15181"/>
                      <a:pt x="61058" y="15181"/>
                    </a:cubicBezTo>
                    <a:close/>
                  </a:path>
                </a:pathLst>
              </a:custGeom>
              <a:grpFill/>
              <a:ln w="9503" cap="flat">
                <a:noFill/>
                <a:prstDash val="solid"/>
                <a:miter/>
              </a:ln>
            </p:spPr>
            <p:txBody>
              <a:bodyPr rtlCol="0" anchor="ctr"/>
              <a:lstStyle/>
              <a:p>
                <a:endParaRPr lang="en-DK"/>
              </a:p>
            </p:txBody>
          </p:sp>
          <p:sp>
            <p:nvSpPr>
              <p:cNvPr id="30" name="Freeform 29">
                <a:extLst>
                  <a:ext uri="{FF2B5EF4-FFF2-40B4-BE49-F238E27FC236}">
                    <a16:creationId xmlns:a16="http://schemas.microsoft.com/office/drawing/2014/main" id="{AFFA88D1-1CC8-924E-6ACB-6FD39E8B713E}"/>
                  </a:ext>
                </a:extLst>
              </p:cNvPr>
              <p:cNvSpPr/>
              <p:nvPr/>
            </p:nvSpPr>
            <p:spPr>
              <a:xfrm>
                <a:off x="4752813" y="3351978"/>
                <a:ext cx="136762" cy="156743"/>
              </a:xfrm>
              <a:custGeom>
                <a:avLst/>
                <a:gdLst>
                  <a:gd name="connsiteX0" fmla="*/ 68381 w 136762"/>
                  <a:gd name="connsiteY0" fmla="*/ 156743 h 156743"/>
                  <a:gd name="connsiteX1" fmla="*/ 0 w 136762"/>
                  <a:gd name="connsiteY1" fmla="*/ 77766 h 156743"/>
                  <a:gd name="connsiteX2" fmla="*/ 68381 w 136762"/>
                  <a:gd name="connsiteY2" fmla="*/ 0 h 156743"/>
                  <a:gd name="connsiteX3" fmla="*/ 136763 w 136762"/>
                  <a:gd name="connsiteY3" fmla="*/ 77766 h 156743"/>
                  <a:gd name="connsiteX4" fmla="*/ 68381 w 136762"/>
                  <a:gd name="connsiteY4" fmla="*/ 156743 h 156743"/>
                  <a:gd name="connsiteX5" fmla="*/ 68381 w 136762"/>
                  <a:gd name="connsiteY5" fmla="*/ 15367 h 156743"/>
                  <a:gd name="connsiteX6" fmla="*/ 19687 w 136762"/>
                  <a:gd name="connsiteY6" fmla="*/ 77766 h 156743"/>
                  <a:gd name="connsiteX7" fmla="*/ 68381 w 136762"/>
                  <a:gd name="connsiteY7" fmla="*/ 141376 h 156743"/>
                  <a:gd name="connsiteX8" fmla="*/ 117076 w 136762"/>
                  <a:gd name="connsiteY8" fmla="*/ 77766 h 156743"/>
                  <a:gd name="connsiteX9" fmla="*/ 68381 w 136762"/>
                  <a:gd name="connsiteY9" fmla="*/ 15367 h 15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2" h="156743">
                    <a:moveTo>
                      <a:pt x="68381" y="156743"/>
                    </a:moveTo>
                    <a:cubicBezTo>
                      <a:pt x="21494" y="156743"/>
                      <a:pt x="0" y="120701"/>
                      <a:pt x="0" y="77766"/>
                    </a:cubicBezTo>
                    <a:cubicBezTo>
                      <a:pt x="0" y="34832"/>
                      <a:pt x="22635" y="0"/>
                      <a:pt x="68381" y="0"/>
                    </a:cubicBezTo>
                    <a:cubicBezTo>
                      <a:pt x="114128" y="0"/>
                      <a:pt x="136763" y="36043"/>
                      <a:pt x="136763" y="77766"/>
                    </a:cubicBezTo>
                    <a:cubicBezTo>
                      <a:pt x="136763" y="119490"/>
                      <a:pt x="116220" y="156743"/>
                      <a:pt x="68381" y="156743"/>
                    </a:cubicBezTo>
                    <a:close/>
                    <a:moveTo>
                      <a:pt x="68381" y="15367"/>
                    </a:moveTo>
                    <a:cubicBezTo>
                      <a:pt x="36806" y="15367"/>
                      <a:pt x="19687" y="41817"/>
                      <a:pt x="19687" y="77766"/>
                    </a:cubicBezTo>
                    <a:cubicBezTo>
                      <a:pt x="19687" y="113716"/>
                      <a:pt x="35665" y="141376"/>
                      <a:pt x="68381" y="141376"/>
                    </a:cubicBezTo>
                    <a:cubicBezTo>
                      <a:pt x="101098" y="141376"/>
                      <a:pt x="117076" y="114088"/>
                      <a:pt x="117076" y="77766"/>
                    </a:cubicBezTo>
                    <a:cubicBezTo>
                      <a:pt x="117076" y="41444"/>
                      <a:pt x="100813" y="15367"/>
                      <a:pt x="68381" y="15367"/>
                    </a:cubicBezTo>
                    <a:close/>
                  </a:path>
                </a:pathLst>
              </a:custGeom>
              <a:grpFill/>
              <a:ln w="9503" cap="flat">
                <a:noFill/>
                <a:prstDash val="solid"/>
                <a:miter/>
              </a:ln>
            </p:spPr>
            <p:txBody>
              <a:bodyPr rtlCol="0" anchor="ctr"/>
              <a:lstStyle/>
              <a:p>
                <a:endParaRPr lang="en-DK"/>
              </a:p>
            </p:txBody>
          </p:sp>
          <p:sp>
            <p:nvSpPr>
              <p:cNvPr id="31" name="Freeform 30">
                <a:extLst>
                  <a:ext uri="{FF2B5EF4-FFF2-40B4-BE49-F238E27FC236}">
                    <a16:creationId xmlns:a16="http://schemas.microsoft.com/office/drawing/2014/main" id="{D18402FC-D9EE-6502-DF70-9AF1DB9ED11F}"/>
                  </a:ext>
                </a:extLst>
              </p:cNvPr>
              <p:cNvSpPr/>
              <p:nvPr/>
            </p:nvSpPr>
            <p:spPr>
              <a:xfrm>
                <a:off x="4912686" y="3355331"/>
                <a:ext cx="210089" cy="150037"/>
              </a:xfrm>
              <a:custGeom>
                <a:avLst/>
                <a:gdLst>
                  <a:gd name="connsiteX0" fmla="*/ 165390 w 210089"/>
                  <a:gd name="connsiteY0" fmla="*/ 150038 h 150037"/>
                  <a:gd name="connsiteX1" fmla="*/ 141518 w 210089"/>
                  <a:gd name="connsiteY1" fmla="*/ 150038 h 150037"/>
                  <a:gd name="connsiteX2" fmla="*/ 115174 w 210089"/>
                  <a:gd name="connsiteY2" fmla="*/ 60909 h 150037"/>
                  <a:gd name="connsiteX3" fmla="*/ 105092 w 210089"/>
                  <a:gd name="connsiteY3" fmla="*/ 23376 h 150037"/>
                  <a:gd name="connsiteX4" fmla="*/ 95011 w 210089"/>
                  <a:gd name="connsiteY4" fmla="*/ 60909 h 150037"/>
                  <a:gd name="connsiteX5" fmla="*/ 67716 w 210089"/>
                  <a:gd name="connsiteY5" fmla="*/ 150038 h 150037"/>
                  <a:gd name="connsiteX6" fmla="*/ 44129 w 210089"/>
                  <a:gd name="connsiteY6" fmla="*/ 150038 h 150037"/>
                  <a:gd name="connsiteX7" fmla="*/ 0 w 210089"/>
                  <a:gd name="connsiteY7" fmla="*/ 0 h 150037"/>
                  <a:gd name="connsiteX8" fmla="*/ 19877 w 210089"/>
                  <a:gd name="connsiteY8" fmla="*/ 0 h 150037"/>
                  <a:gd name="connsiteX9" fmla="*/ 48029 w 210089"/>
                  <a:gd name="connsiteY9" fmla="*/ 95741 h 150037"/>
                  <a:gd name="connsiteX10" fmla="*/ 56588 w 210089"/>
                  <a:gd name="connsiteY10" fmla="*/ 129921 h 150037"/>
                  <a:gd name="connsiteX11" fmla="*/ 65814 w 210089"/>
                  <a:gd name="connsiteY11" fmla="*/ 95741 h 150037"/>
                  <a:gd name="connsiteX12" fmla="*/ 94631 w 210089"/>
                  <a:gd name="connsiteY12" fmla="*/ 0 h 150037"/>
                  <a:gd name="connsiteX13" fmla="*/ 116410 w 210089"/>
                  <a:gd name="connsiteY13" fmla="*/ 0 h 150037"/>
                  <a:gd name="connsiteX14" fmla="*/ 145227 w 210089"/>
                  <a:gd name="connsiteY14" fmla="*/ 95741 h 150037"/>
                  <a:gd name="connsiteX15" fmla="*/ 154072 w 210089"/>
                  <a:gd name="connsiteY15" fmla="*/ 129921 h 150037"/>
                  <a:gd name="connsiteX16" fmla="*/ 162917 w 210089"/>
                  <a:gd name="connsiteY16" fmla="*/ 95741 h 150037"/>
                  <a:gd name="connsiteX17" fmla="*/ 191734 w 210089"/>
                  <a:gd name="connsiteY17" fmla="*/ 0 h 150037"/>
                  <a:gd name="connsiteX18" fmla="*/ 210090 w 210089"/>
                  <a:gd name="connsiteY18" fmla="*/ 0 h 150037"/>
                  <a:gd name="connsiteX19" fmla="*/ 165295 w 210089"/>
                  <a:gd name="connsiteY19" fmla="*/ 150038 h 15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089" h="150037">
                    <a:moveTo>
                      <a:pt x="165390" y="150038"/>
                    </a:moveTo>
                    <a:lnTo>
                      <a:pt x="141518" y="150038"/>
                    </a:lnTo>
                    <a:lnTo>
                      <a:pt x="115174" y="60909"/>
                    </a:lnTo>
                    <a:cubicBezTo>
                      <a:pt x="111179" y="47125"/>
                      <a:pt x="105092" y="23376"/>
                      <a:pt x="105092" y="23376"/>
                    </a:cubicBezTo>
                    <a:cubicBezTo>
                      <a:pt x="105092" y="23376"/>
                      <a:pt x="99291" y="46474"/>
                      <a:pt x="95011" y="60909"/>
                    </a:cubicBezTo>
                    <a:lnTo>
                      <a:pt x="67716" y="150038"/>
                    </a:lnTo>
                    <a:lnTo>
                      <a:pt x="44129" y="150038"/>
                    </a:lnTo>
                    <a:lnTo>
                      <a:pt x="0" y="0"/>
                    </a:lnTo>
                    <a:lnTo>
                      <a:pt x="19877" y="0"/>
                    </a:lnTo>
                    <a:lnTo>
                      <a:pt x="48029" y="95741"/>
                    </a:lnTo>
                    <a:cubicBezTo>
                      <a:pt x="51738" y="108314"/>
                      <a:pt x="56588" y="129921"/>
                      <a:pt x="56588" y="129921"/>
                    </a:cubicBezTo>
                    <a:cubicBezTo>
                      <a:pt x="56588" y="129921"/>
                      <a:pt x="62104" y="108314"/>
                      <a:pt x="65814" y="95741"/>
                    </a:cubicBezTo>
                    <a:lnTo>
                      <a:pt x="94631" y="0"/>
                    </a:lnTo>
                    <a:lnTo>
                      <a:pt x="116410" y="0"/>
                    </a:lnTo>
                    <a:lnTo>
                      <a:pt x="145227" y="95741"/>
                    </a:lnTo>
                    <a:cubicBezTo>
                      <a:pt x="149222" y="109245"/>
                      <a:pt x="154072" y="129921"/>
                      <a:pt x="154072" y="129921"/>
                    </a:cubicBezTo>
                    <a:cubicBezTo>
                      <a:pt x="154072" y="129921"/>
                      <a:pt x="159018" y="108873"/>
                      <a:pt x="162917" y="95741"/>
                    </a:cubicBezTo>
                    <a:lnTo>
                      <a:pt x="191734" y="0"/>
                    </a:lnTo>
                    <a:lnTo>
                      <a:pt x="210090" y="0"/>
                    </a:lnTo>
                    <a:lnTo>
                      <a:pt x="165295" y="150038"/>
                    </a:lnTo>
                    <a:close/>
                  </a:path>
                </a:pathLst>
              </a:custGeom>
              <a:grpFill/>
              <a:ln w="9503" cap="flat">
                <a:noFill/>
                <a:prstDash val="solid"/>
                <a:miter/>
              </a:ln>
            </p:spPr>
            <p:txBody>
              <a:bodyPr rtlCol="0" anchor="ctr"/>
              <a:lstStyle/>
              <a:p>
                <a:endParaRPr lang="en-DK"/>
              </a:p>
            </p:txBody>
          </p:sp>
          <p:sp>
            <p:nvSpPr>
              <p:cNvPr id="32" name="Freeform 31">
                <a:extLst>
                  <a:ext uri="{FF2B5EF4-FFF2-40B4-BE49-F238E27FC236}">
                    <a16:creationId xmlns:a16="http://schemas.microsoft.com/office/drawing/2014/main" id="{2FB896B4-ACD9-6EAB-6ED5-B3CC68D26774}"/>
                  </a:ext>
                </a:extLst>
              </p:cNvPr>
              <p:cNvSpPr/>
              <p:nvPr/>
            </p:nvSpPr>
            <p:spPr>
              <a:xfrm>
                <a:off x="5146838"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33" name="Freeform 32">
                <a:extLst>
                  <a:ext uri="{FF2B5EF4-FFF2-40B4-BE49-F238E27FC236}">
                    <a16:creationId xmlns:a16="http://schemas.microsoft.com/office/drawing/2014/main" id="{E1D163FC-2B4A-F6A1-4BB7-50E1DA8E5902}"/>
                  </a:ext>
                </a:extLst>
              </p:cNvPr>
              <p:cNvSpPr/>
              <p:nvPr/>
            </p:nvSpPr>
            <p:spPr>
              <a:xfrm>
                <a:off x="5314796" y="3351978"/>
                <a:ext cx="81506" cy="153390"/>
              </a:xfrm>
              <a:custGeom>
                <a:avLst/>
                <a:gdLst>
                  <a:gd name="connsiteX0" fmla="*/ 76370 w 81506"/>
                  <a:gd name="connsiteY0" fmla="*/ 21700 h 153390"/>
                  <a:gd name="connsiteX1" fmla="*/ 59822 w 81506"/>
                  <a:gd name="connsiteY1" fmla="*/ 17509 h 153390"/>
                  <a:gd name="connsiteX2" fmla="*/ 19687 w 81506"/>
                  <a:gd name="connsiteY2" fmla="*/ 46287 h 153390"/>
                  <a:gd name="connsiteX3" fmla="*/ 19687 w 81506"/>
                  <a:gd name="connsiteY3" fmla="*/ 153391 h 153390"/>
                  <a:gd name="connsiteX4" fmla="*/ 951 w 81506"/>
                  <a:gd name="connsiteY4" fmla="*/ 153391 h 153390"/>
                  <a:gd name="connsiteX5" fmla="*/ 951 w 81506"/>
                  <a:gd name="connsiteY5" fmla="*/ 30641 h 153390"/>
                  <a:gd name="connsiteX6" fmla="*/ 0 w 81506"/>
                  <a:gd name="connsiteY6" fmla="*/ 3353 h 153390"/>
                  <a:gd name="connsiteX7" fmla="*/ 15027 w 81506"/>
                  <a:gd name="connsiteY7" fmla="*/ 3353 h 153390"/>
                  <a:gd name="connsiteX8" fmla="*/ 16834 w 81506"/>
                  <a:gd name="connsiteY8" fmla="*/ 28219 h 153390"/>
                  <a:gd name="connsiteX9" fmla="*/ 63721 w 81506"/>
                  <a:gd name="connsiteY9" fmla="*/ 0 h 153390"/>
                  <a:gd name="connsiteX10" fmla="*/ 81506 w 81506"/>
                  <a:gd name="connsiteY10" fmla="*/ 2701 h 153390"/>
                  <a:gd name="connsiteX11" fmla="*/ 76275 w 81506"/>
                  <a:gd name="connsiteY11" fmla="*/ 21607 h 15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506" h="153390">
                    <a:moveTo>
                      <a:pt x="76370" y="21700"/>
                    </a:moveTo>
                    <a:cubicBezTo>
                      <a:pt x="71425" y="18999"/>
                      <a:pt x="66289" y="17509"/>
                      <a:pt x="59822" y="17509"/>
                    </a:cubicBezTo>
                    <a:cubicBezTo>
                      <a:pt x="41086" y="17509"/>
                      <a:pt x="29768" y="28871"/>
                      <a:pt x="19687" y="46287"/>
                    </a:cubicBezTo>
                    <a:lnTo>
                      <a:pt x="19687" y="153391"/>
                    </a:lnTo>
                    <a:lnTo>
                      <a:pt x="951" y="153391"/>
                    </a:lnTo>
                    <a:lnTo>
                      <a:pt x="951" y="30641"/>
                    </a:lnTo>
                    <a:cubicBezTo>
                      <a:pt x="951" y="25519"/>
                      <a:pt x="380" y="8475"/>
                      <a:pt x="0" y="3353"/>
                    </a:cubicBezTo>
                    <a:lnTo>
                      <a:pt x="15027" y="3353"/>
                    </a:lnTo>
                    <a:lnTo>
                      <a:pt x="16834" y="28219"/>
                    </a:lnTo>
                    <a:cubicBezTo>
                      <a:pt x="26059" y="11083"/>
                      <a:pt x="41371" y="0"/>
                      <a:pt x="63721" y="0"/>
                    </a:cubicBezTo>
                    <a:cubicBezTo>
                      <a:pt x="70189" y="0"/>
                      <a:pt x="76275" y="931"/>
                      <a:pt x="81506" y="2701"/>
                    </a:cubicBezTo>
                    <a:lnTo>
                      <a:pt x="76275" y="21607"/>
                    </a:lnTo>
                    <a:close/>
                  </a:path>
                </a:pathLst>
              </a:custGeom>
              <a:grpFill/>
              <a:ln w="9503" cap="flat">
                <a:noFill/>
                <a:prstDash val="solid"/>
                <a:miter/>
              </a:ln>
            </p:spPr>
            <p:txBody>
              <a:bodyPr rtlCol="0" anchor="ctr"/>
              <a:lstStyle/>
              <a:p>
                <a:endParaRPr lang="en-DK"/>
              </a:p>
            </p:txBody>
          </p:sp>
          <p:sp>
            <p:nvSpPr>
              <p:cNvPr id="34" name="Freeform 33">
                <a:extLst>
                  <a:ext uri="{FF2B5EF4-FFF2-40B4-BE49-F238E27FC236}">
                    <a16:creationId xmlns:a16="http://schemas.microsoft.com/office/drawing/2014/main" id="{3CC4DE58-0262-6318-DECE-D7527F42B18C}"/>
                  </a:ext>
                </a:extLst>
              </p:cNvPr>
              <p:cNvSpPr/>
              <p:nvPr/>
            </p:nvSpPr>
            <p:spPr>
              <a:xfrm>
                <a:off x="5510715" y="3289300"/>
                <a:ext cx="123923" cy="219422"/>
              </a:xfrm>
              <a:custGeom>
                <a:avLst/>
                <a:gdLst>
                  <a:gd name="connsiteX0" fmla="*/ 63436 w 123923"/>
                  <a:gd name="connsiteY0" fmla="*/ 219422 h 219422"/>
                  <a:gd name="connsiteX1" fmla="*/ 17119 w 123923"/>
                  <a:gd name="connsiteY1" fmla="*/ 199026 h 219422"/>
                  <a:gd name="connsiteX2" fmla="*/ 15597 w 123923"/>
                  <a:gd name="connsiteY2" fmla="*/ 216162 h 219422"/>
                  <a:gd name="connsiteX3" fmla="*/ 0 w 123923"/>
                  <a:gd name="connsiteY3" fmla="*/ 216162 h 219422"/>
                  <a:gd name="connsiteX4" fmla="*/ 951 w 123923"/>
                  <a:gd name="connsiteY4" fmla="*/ 187943 h 219422"/>
                  <a:gd name="connsiteX5" fmla="*/ 951 w 123923"/>
                  <a:gd name="connsiteY5" fmla="*/ 0 h 219422"/>
                  <a:gd name="connsiteX6" fmla="*/ 19687 w 123923"/>
                  <a:gd name="connsiteY6" fmla="*/ 0 h 219422"/>
                  <a:gd name="connsiteX7" fmla="*/ 19687 w 123923"/>
                  <a:gd name="connsiteY7" fmla="*/ 86707 h 219422"/>
                  <a:gd name="connsiteX8" fmla="*/ 65053 w 123923"/>
                  <a:gd name="connsiteY8" fmla="*/ 62679 h 219422"/>
                  <a:gd name="connsiteX9" fmla="*/ 123924 w 123923"/>
                  <a:gd name="connsiteY9" fmla="*/ 140445 h 219422"/>
                  <a:gd name="connsiteX10" fmla="*/ 63531 w 123923"/>
                  <a:gd name="connsiteY10" fmla="*/ 219422 h 219422"/>
                  <a:gd name="connsiteX11" fmla="*/ 60963 w 123923"/>
                  <a:gd name="connsiteY11" fmla="*/ 78046 h 219422"/>
                  <a:gd name="connsiteX12" fmla="*/ 19592 w 123923"/>
                  <a:gd name="connsiteY12" fmla="*/ 105334 h 219422"/>
                  <a:gd name="connsiteX13" fmla="*/ 19592 w 123923"/>
                  <a:gd name="connsiteY13" fmla="*/ 186080 h 219422"/>
                  <a:gd name="connsiteX14" fmla="*/ 58776 w 123923"/>
                  <a:gd name="connsiteY14" fmla="*/ 204055 h 219422"/>
                  <a:gd name="connsiteX15" fmla="*/ 104141 w 123923"/>
                  <a:gd name="connsiteY15" fmla="*/ 141004 h 219422"/>
                  <a:gd name="connsiteX16" fmla="*/ 60963 w 123923"/>
                  <a:gd name="connsiteY16" fmla="*/ 77953 h 21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923" h="219422">
                    <a:moveTo>
                      <a:pt x="63436" y="219422"/>
                    </a:moveTo>
                    <a:cubicBezTo>
                      <a:pt x="41086" y="219422"/>
                      <a:pt x="27010" y="211040"/>
                      <a:pt x="17119" y="199026"/>
                    </a:cubicBezTo>
                    <a:lnTo>
                      <a:pt x="15597" y="216162"/>
                    </a:lnTo>
                    <a:lnTo>
                      <a:pt x="0" y="216162"/>
                    </a:lnTo>
                    <a:cubicBezTo>
                      <a:pt x="285" y="209550"/>
                      <a:pt x="951" y="195114"/>
                      <a:pt x="951" y="187943"/>
                    </a:cubicBezTo>
                    <a:lnTo>
                      <a:pt x="951" y="0"/>
                    </a:lnTo>
                    <a:lnTo>
                      <a:pt x="19687" y="0"/>
                    </a:lnTo>
                    <a:lnTo>
                      <a:pt x="19687" y="86707"/>
                    </a:lnTo>
                    <a:cubicBezTo>
                      <a:pt x="27961" y="75904"/>
                      <a:pt x="40801" y="62679"/>
                      <a:pt x="65053" y="62679"/>
                    </a:cubicBezTo>
                    <a:cubicBezTo>
                      <a:pt x="100908" y="62679"/>
                      <a:pt x="123924" y="92668"/>
                      <a:pt x="123924" y="140445"/>
                    </a:cubicBezTo>
                    <a:cubicBezTo>
                      <a:pt x="123924" y="184311"/>
                      <a:pt x="103381" y="219422"/>
                      <a:pt x="63531" y="219422"/>
                    </a:cubicBezTo>
                    <a:close/>
                    <a:moveTo>
                      <a:pt x="60963" y="78046"/>
                    </a:moveTo>
                    <a:cubicBezTo>
                      <a:pt x="39849" y="78046"/>
                      <a:pt x="26059" y="95462"/>
                      <a:pt x="19592" y="105334"/>
                    </a:cubicBezTo>
                    <a:lnTo>
                      <a:pt x="19592" y="186080"/>
                    </a:lnTo>
                    <a:cubicBezTo>
                      <a:pt x="29673" y="196325"/>
                      <a:pt x="39849" y="204055"/>
                      <a:pt x="58776" y="204055"/>
                    </a:cubicBezTo>
                    <a:cubicBezTo>
                      <a:pt x="85405" y="204055"/>
                      <a:pt x="104141" y="180679"/>
                      <a:pt x="104141" y="141004"/>
                    </a:cubicBezTo>
                    <a:cubicBezTo>
                      <a:pt x="104141" y="93878"/>
                      <a:pt x="82647" y="77953"/>
                      <a:pt x="60963" y="77953"/>
                    </a:cubicBezTo>
                    <a:close/>
                  </a:path>
                </a:pathLst>
              </a:custGeom>
              <a:grpFill/>
              <a:ln w="9503" cap="flat">
                <a:noFill/>
                <a:prstDash val="solid"/>
                <a:miter/>
              </a:ln>
            </p:spPr>
            <p:txBody>
              <a:bodyPr rtlCol="0" anchor="ctr"/>
              <a:lstStyle/>
              <a:p>
                <a:endParaRPr lang="en-DK"/>
              </a:p>
            </p:txBody>
          </p:sp>
          <p:sp>
            <p:nvSpPr>
              <p:cNvPr id="35" name="Freeform 34">
                <a:extLst>
                  <a:ext uri="{FF2B5EF4-FFF2-40B4-BE49-F238E27FC236}">
                    <a16:creationId xmlns:a16="http://schemas.microsoft.com/office/drawing/2014/main" id="{34123698-1069-7C33-6451-589895D15371}"/>
                  </a:ext>
                </a:extLst>
              </p:cNvPr>
              <p:cNvSpPr/>
              <p:nvPr/>
            </p:nvSpPr>
            <p:spPr>
              <a:xfrm>
                <a:off x="5668021"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36" name="Freeform 35">
                <a:extLst>
                  <a:ext uri="{FF2B5EF4-FFF2-40B4-BE49-F238E27FC236}">
                    <a16:creationId xmlns:a16="http://schemas.microsoft.com/office/drawing/2014/main" id="{12CFCE80-1F72-58CC-47FF-BC764BAE4356}"/>
                  </a:ext>
                </a:extLst>
              </p:cNvPr>
              <p:cNvSpPr/>
              <p:nvPr/>
            </p:nvSpPr>
            <p:spPr>
              <a:xfrm>
                <a:off x="5836835" y="3289300"/>
                <a:ext cx="113461" cy="216162"/>
              </a:xfrm>
              <a:custGeom>
                <a:avLst/>
                <a:gdLst>
                  <a:gd name="connsiteX0" fmla="*/ 94726 w 113461"/>
                  <a:gd name="connsiteY0" fmla="*/ 216069 h 216162"/>
                  <a:gd name="connsiteX1" fmla="*/ 94726 w 113461"/>
                  <a:gd name="connsiteY1" fmla="*/ 120701 h 216162"/>
                  <a:gd name="connsiteX2" fmla="*/ 58586 w 113461"/>
                  <a:gd name="connsiteY2" fmla="*/ 78418 h 216162"/>
                  <a:gd name="connsiteX3" fmla="*/ 18736 w 113461"/>
                  <a:gd name="connsiteY3" fmla="*/ 102726 h 216162"/>
                  <a:gd name="connsiteX4" fmla="*/ 18736 w 113461"/>
                  <a:gd name="connsiteY4" fmla="*/ 216162 h 216162"/>
                  <a:gd name="connsiteX5" fmla="*/ 0 w 113461"/>
                  <a:gd name="connsiteY5" fmla="*/ 216162 h 216162"/>
                  <a:gd name="connsiteX6" fmla="*/ 0 w 113461"/>
                  <a:gd name="connsiteY6" fmla="*/ 0 h 216162"/>
                  <a:gd name="connsiteX7" fmla="*/ 18736 w 113461"/>
                  <a:gd name="connsiteY7" fmla="*/ 0 h 216162"/>
                  <a:gd name="connsiteX8" fmla="*/ 18736 w 113461"/>
                  <a:gd name="connsiteY8" fmla="*/ 84658 h 216162"/>
                  <a:gd name="connsiteX9" fmla="*/ 62580 w 113461"/>
                  <a:gd name="connsiteY9" fmla="*/ 62772 h 216162"/>
                  <a:gd name="connsiteX10" fmla="*/ 113462 w 113461"/>
                  <a:gd name="connsiteY10" fmla="*/ 122191 h 216162"/>
                  <a:gd name="connsiteX11" fmla="*/ 113462 w 113461"/>
                  <a:gd name="connsiteY11" fmla="*/ 216162 h 216162"/>
                  <a:gd name="connsiteX12" fmla="*/ 94726 w 113461"/>
                  <a:gd name="connsiteY12" fmla="*/ 216162 h 21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461" h="216162">
                    <a:moveTo>
                      <a:pt x="94726" y="216069"/>
                    </a:moveTo>
                    <a:lnTo>
                      <a:pt x="94726" y="120701"/>
                    </a:lnTo>
                    <a:cubicBezTo>
                      <a:pt x="94726" y="93133"/>
                      <a:pt x="83694" y="78418"/>
                      <a:pt x="58586" y="78418"/>
                    </a:cubicBezTo>
                    <a:cubicBezTo>
                      <a:pt x="39850" y="78418"/>
                      <a:pt x="26725" y="90991"/>
                      <a:pt x="18736" y="102726"/>
                    </a:cubicBezTo>
                    <a:lnTo>
                      <a:pt x="18736" y="216162"/>
                    </a:lnTo>
                    <a:lnTo>
                      <a:pt x="0" y="216162"/>
                    </a:lnTo>
                    <a:lnTo>
                      <a:pt x="0" y="0"/>
                    </a:lnTo>
                    <a:lnTo>
                      <a:pt x="18736" y="0"/>
                    </a:lnTo>
                    <a:lnTo>
                      <a:pt x="18736" y="84658"/>
                    </a:lnTo>
                    <a:cubicBezTo>
                      <a:pt x="28532" y="71713"/>
                      <a:pt x="43844" y="62772"/>
                      <a:pt x="62580" y="62772"/>
                    </a:cubicBezTo>
                    <a:cubicBezTo>
                      <a:pt x="101193" y="62772"/>
                      <a:pt x="113462" y="86800"/>
                      <a:pt x="113462" y="122191"/>
                    </a:cubicBezTo>
                    <a:lnTo>
                      <a:pt x="113462" y="216162"/>
                    </a:lnTo>
                    <a:lnTo>
                      <a:pt x="94726" y="216162"/>
                    </a:lnTo>
                    <a:close/>
                  </a:path>
                </a:pathLst>
              </a:custGeom>
              <a:grpFill/>
              <a:ln w="9503" cap="flat">
                <a:noFill/>
                <a:prstDash val="solid"/>
                <a:miter/>
              </a:ln>
            </p:spPr>
            <p:txBody>
              <a:bodyPr rtlCol="0" anchor="ctr"/>
              <a:lstStyle/>
              <a:p>
                <a:endParaRPr lang="en-DK"/>
              </a:p>
            </p:txBody>
          </p:sp>
          <p:sp>
            <p:nvSpPr>
              <p:cNvPr id="37" name="Freeform 36">
                <a:extLst>
                  <a:ext uri="{FF2B5EF4-FFF2-40B4-BE49-F238E27FC236}">
                    <a16:creationId xmlns:a16="http://schemas.microsoft.com/office/drawing/2014/main" id="{6FDDFBDC-B453-7D2A-C574-D85BCC191BA0}"/>
                  </a:ext>
                </a:extLst>
              </p:cNvPr>
              <p:cNvSpPr/>
              <p:nvPr/>
            </p:nvSpPr>
            <p:spPr>
              <a:xfrm>
                <a:off x="5999371" y="3289300"/>
                <a:ext cx="21779" cy="216069"/>
              </a:xfrm>
              <a:custGeom>
                <a:avLst/>
                <a:gdLst>
                  <a:gd name="connsiteX0" fmla="*/ 0 w 21779"/>
                  <a:gd name="connsiteY0" fmla="*/ 23097 h 216069"/>
                  <a:gd name="connsiteX1" fmla="*/ 0 w 21779"/>
                  <a:gd name="connsiteY1" fmla="*/ 0 h 216069"/>
                  <a:gd name="connsiteX2" fmla="*/ 21779 w 21779"/>
                  <a:gd name="connsiteY2" fmla="*/ 0 h 216069"/>
                  <a:gd name="connsiteX3" fmla="*/ 21779 w 21779"/>
                  <a:gd name="connsiteY3" fmla="*/ 23097 h 216069"/>
                  <a:gd name="connsiteX4" fmla="*/ 0 w 21779"/>
                  <a:gd name="connsiteY4" fmla="*/ 23097 h 216069"/>
                  <a:gd name="connsiteX5" fmla="*/ 1522 w 21779"/>
                  <a:gd name="connsiteY5" fmla="*/ 216069 h 216069"/>
                  <a:gd name="connsiteX6" fmla="*/ 1522 w 21779"/>
                  <a:gd name="connsiteY6" fmla="*/ 66032 h 216069"/>
                  <a:gd name="connsiteX7" fmla="*/ 20258 w 21779"/>
                  <a:gd name="connsiteY7" fmla="*/ 66032 h 216069"/>
                  <a:gd name="connsiteX8" fmla="*/ 20258 w 21779"/>
                  <a:gd name="connsiteY8" fmla="*/ 216069 h 216069"/>
                  <a:gd name="connsiteX9" fmla="*/ 1522 w 21779"/>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79" h="216069">
                    <a:moveTo>
                      <a:pt x="0" y="23097"/>
                    </a:moveTo>
                    <a:lnTo>
                      <a:pt x="0" y="0"/>
                    </a:lnTo>
                    <a:lnTo>
                      <a:pt x="21779" y="0"/>
                    </a:lnTo>
                    <a:lnTo>
                      <a:pt x="21779" y="23097"/>
                    </a:lnTo>
                    <a:lnTo>
                      <a:pt x="0" y="23097"/>
                    </a:lnTo>
                    <a:close/>
                    <a:moveTo>
                      <a:pt x="1522" y="216069"/>
                    </a:moveTo>
                    <a:lnTo>
                      <a:pt x="1522" y="66032"/>
                    </a:lnTo>
                    <a:lnTo>
                      <a:pt x="20258" y="66032"/>
                    </a:lnTo>
                    <a:lnTo>
                      <a:pt x="20258" y="216069"/>
                    </a:lnTo>
                    <a:lnTo>
                      <a:pt x="1522" y="216069"/>
                    </a:lnTo>
                    <a:close/>
                  </a:path>
                </a:pathLst>
              </a:custGeom>
              <a:grpFill/>
              <a:ln w="9503" cap="flat">
                <a:noFill/>
                <a:prstDash val="solid"/>
                <a:miter/>
              </a:ln>
            </p:spPr>
            <p:txBody>
              <a:bodyPr rtlCol="0" anchor="ctr"/>
              <a:lstStyle/>
              <a:p>
                <a:endParaRPr lang="en-DK"/>
              </a:p>
            </p:txBody>
          </p:sp>
          <p:sp>
            <p:nvSpPr>
              <p:cNvPr id="38" name="Freeform 37">
                <a:extLst>
                  <a:ext uri="{FF2B5EF4-FFF2-40B4-BE49-F238E27FC236}">
                    <a16:creationId xmlns:a16="http://schemas.microsoft.com/office/drawing/2014/main" id="{80F813B3-C579-E53D-C075-FDBF2A80D2DA}"/>
                  </a:ext>
                </a:extLst>
              </p:cNvPr>
              <p:cNvSpPr/>
              <p:nvPr/>
            </p:nvSpPr>
            <p:spPr>
              <a:xfrm>
                <a:off x="6069179" y="3351978"/>
                <a:ext cx="114222" cy="153390"/>
              </a:xfrm>
              <a:custGeom>
                <a:avLst/>
                <a:gdLst>
                  <a:gd name="connsiteX0" fmla="*/ 95677 w 114222"/>
                  <a:gd name="connsiteY0" fmla="*/ 153391 h 153390"/>
                  <a:gd name="connsiteX1" fmla="*/ 95677 w 114222"/>
                  <a:gd name="connsiteY1" fmla="*/ 58301 h 153390"/>
                  <a:gd name="connsiteX2" fmla="*/ 59537 w 114222"/>
                  <a:gd name="connsiteY2" fmla="*/ 15646 h 153390"/>
                  <a:gd name="connsiteX3" fmla="*/ 19687 w 114222"/>
                  <a:gd name="connsiteY3" fmla="*/ 39954 h 153390"/>
                  <a:gd name="connsiteX4" fmla="*/ 19687 w 114222"/>
                  <a:gd name="connsiteY4" fmla="*/ 153391 h 153390"/>
                  <a:gd name="connsiteX5" fmla="*/ 951 w 114222"/>
                  <a:gd name="connsiteY5" fmla="*/ 153391 h 153390"/>
                  <a:gd name="connsiteX6" fmla="*/ 951 w 114222"/>
                  <a:gd name="connsiteY6" fmla="*/ 30920 h 153390"/>
                  <a:gd name="connsiteX7" fmla="*/ 0 w 114222"/>
                  <a:gd name="connsiteY7" fmla="*/ 3353 h 153390"/>
                  <a:gd name="connsiteX8" fmla="*/ 15598 w 114222"/>
                  <a:gd name="connsiteY8" fmla="*/ 3353 h 153390"/>
                  <a:gd name="connsiteX9" fmla="*/ 17119 w 114222"/>
                  <a:gd name="connsiteY9" fmla="*/ 24028 h 153390"/>
                  <a:gd name="connsiteX10" fmla="*/ 63056 w 114222"/>
                  <a:gd name="connsiteY10" fmla="*/ 0 h 153390"/>
                  <a:gd name="connsiteX11" fmla="*/ 114223 w 114222"/>
                  <a:gd name="connsiteY11" fmla="*/ 59419 h 153390"/>
                  <a:gd name="connsiteX12" fmla="*/ 114223 w 114222"/>
                  <a:gd name="connsiteY12" fmla="*/ 153391 h 153390"/>
                  <a:gd name="connsiteX13" fmla="*/ 95487 w 114222"/>
                  <a:gd name="connsiteY13" fmla="*/ 153391 h 15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222" h="153390">
                    <a:moveTo>
                      <a:pt x="95677" y="153391"/>
                    </a:moveTo>
                    <a:lnTo>
                      <a:pt x="95677" y="58301"/>
                    </a:lnTo>
                    <a:cubicBezTo>
                      <a:pt x="95677" y="31013"/>
                      <a:pt x="84359" y="15646"/>
                      <a:pt x="59537" y="15646"/>
                    </a:cubicBezTo>
                    <a:cubicBezTo>
                      <a:pt x="39279" y="15646"/>
                      <a:pt x="27010" y="29151"/>
                      <a:pt x="19687" y="39954"/>
                    </a:cubicBezTo>
                    <a:lnTo>
                      <a:pt x="19687" y="153391"/>
                    </a:lnTo>
                    <a:lnTo>
                      <a:pt x="951" y="153391"/>
                    </a:lnTo>
                    <a:lnTo>
                      <a:pt x="951" y="30920"/>
                    </a:lnTo>
                    <a:cubicBezTo>
                      <a:pt x="951" y="25798"/>
                      <a:pt x="381" y="8382"/>
                      <a:pt x="0" y="3353"/>
                    </a:cubicBezTo>
                    <a:lnTo>
                      <a:pt x="15598" y="3353"/>
                    </a:lnTo>
                    <a:lnTo>
                      <a:pt x="17119" y="24028"/>
                    </a:lnTo>
                    <a:cubicBezTo>
                      <a:pt x="26344" y="10803"/>
                      <a:pt x="42513" y="0"/>
                      <a:pt x="63056" y="0"/>
                    </a:cubicBezTo>
                    <a:cubicBezTo>
                      <a:pt x="100432" y="0"/>
                      <a:pt x="114223" y="23097"/>
                      <a:pt x="114223" y="59419"/>
                    </a:cubicBezTo>
                    <a:lnTo>
                      <a:pt x="114223" y="153391"/>
                    </a:lnTo>
                    <a:lnTo>
                      <a:pt x="95487" y="153391"/>
                    </a:lnTo>
                    <a:close/>
                  </a:path>
                </a:pathLst>
              </a:custGeom>
              <a:grpFill/>
              <a:ln w="9503" cap="flat">
                <a:noFill/>
                <a:prstDash val="solid"/>
                <a:miter/>
              </a:ln>
            </p:spPr>
            <p:txBody>
              <a:bodyPr rtlCol="0" anchor="ctr"/>
              <a:lstStyle/>
              <a:p>
                <a:endParaRPr lang="en-DK"/>
              </a:p>
            </p:txBody>
          </p:sp>
          <p:sp>
            <p:nvSpPr>
              <p:cNvPr id="39" name="Freeform 38">
                <a:extLst>
                  <a:ext uri="{FF2B5EF4-FFF2-40B4-BE49-F238E27FC236}">
                    <a16:creationId xmlns:a16="http://schemas.microsoft.com/office/drawing/2014/main" id="{A245479B-4B83-C686-1227-4B0E2A9D2B84}"/>
                  </a:ext>
                </a:extLst>
              </p:cNvPr>
              <p:cNvSpPr/>
              <p:nvPr/>
            </p:nvSpPr>
            <p:spPr>
              <a:xfrm>
                <a:off x="6224013" y="3289300"/>
                <a:ext cx="125730" cy="219328"/>
              </a:xfrm>
              <a:custGeom>
                <a:avLst/>
                <a:gdLst>
                  <a:gd name="connsiteX0" fmla="*/ 109753 w 125730"/>
                  <a:gd name="connsiteY0" fmla="*/ 216069 h 219328"/>
                  <a:gd name="connsiteX1" fmla="*/ 108231 w 125730"/>
                  <a:gd name="connsiteY1" fmla="*/ 192320 h 219328"/>
                  <a:gd name="connsiteX2" fmla="*/ 60392 w 125730"/>
                  <a:gd name="connsiteY2" fmla="*/ 219329 h 219328"/>
                  <a:gd name="connsiteX3" fmla="*/ 0 w 125730"/>
                  <a:gd name="connsiteY3" fmla="*/ 140352 h 219328"/>
                  <a:gd name="connsiteX4" fmla="*/ 63151 w 125730"/>
                  <a:gd name="connsiteY4" fmla="*/ 62586 h 219328"/>
                  <a:gd name="connsiteX5" fmla="*/ 106044 w 125730"/>
                  <a:gd name="connsiteY5" fmla="*/ 79350 h 219328"/>
                  <a:gd name="connsiteX6" fmla="*/ 106044 w 125730"/>
                  <a:gd name="connsiteY6" fmla="*/ 0 h 219328"/>
                  <a:gd name="connsiteX7" fmla="*/ 124779 w 125730"/>
                  <a:gd name="connsiteY7" fmla="*/ 0 h 219328"/>
                  <a:gd name="connsiteX8" fmla="*/ 124779 w 125730"/>
                  <a:gd name="connsiteY8" fmla="*/ 187850 h 219328"/>
                  <a:gd name="connsiteX9" fmla="*/ 125730 w 125730"/>
                  <a:gd name="connsiteY9" fmla="*/ 216069 h 219328"/>
                  <a:gd name="connsiteX10" fmla="*/ 109753 w 125730"/>
                  <a:gd name="connsiteY10" fmla="*/ 216069 h 219328"/>
                  <a:gd name="connsiteX11" fmla="*/ 106044 w 125730"/>
                  <a:gd name="connsiteY11" fmla="*/ 95369 h 219328"/>
                  <a:gd name="connsiteX12" fmla="*/ 67145 w 125730"/>
                  <a:gd name="connsiteY12" fmla="*/ 77953 h 219328"/>
                  <a:gd name="connsiteX13" fmla="*/ 19592 w 125730"/>
                  <a:gd name="connsiteY13" fmla="*/ 141004 h 219328"/>
                  <a:gd name="connsiteX14" fmla="*/ 64958 w 125730"/>
                  <a:gd name="connsiteY14" fmla="*/ 204055 h 219328"/>
                  <a:gd name="connsiteX15" fmla="*/ 106044 w 125730"/>
                  <a:gd name="connsiteY15" fmla="*/ 177046 h 219328"/>
                  <a:gd name="connsiteX16" fmla="*/ 106044 w 125730"/>
                  <a:gd name="connsiteY16" fmla="*/ 95462 h 21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730" h="219328">
                    <a:moveTo>
                      <a:pt x="109753" y="216069"/>
                    </a:moveTo>
                    <a:lnTo>
                      <a:pt x="108231" y="192320"/>
                    </a:lnTo>
                    <a:cubicBezTo>
                      <a:pt x="99386" y="204893"/>
                      <a:pt x="84645" y="219329"/>
                      <a:pt x="60392" y="219329"/>
                    </a:cubicBezTo>
                    <a:cubicBezTo>
                      <a:pt x="19592" y="219329"/>
                      <a:pt x="0" y="183938"/>
                      <a:pt x="0" y="140352"/>
                    </a:cubicBezTo>
                    <a:cubicBezTo>
                      <a:pt x="0" y="91736"/>
                      <a:pt x="28151" y="62586"/>
                      <a:pt x="63151" y="62586"/>
                    </a:cubicBezTo>
                    <a:cubicBezTo>
                      <a:pt x="82172" y="62586"/>
                      <a:pt x="97199" y="70409"/>
                      <a:pt x="106044" y="79350"/>
                    </a:cubicBezTo>
                    <a:lnTo>
                      <a:pt x="106044" y="0"/>
                    </a:lnTo>
                    <a:lnTo>
                      <a:pt x="124779" y="0"/>
                    </a:lnTo>
                    <a:lnTo>
                      <a:pt x="124779" y="187850"/>
                    </a:lnTo>
                    <a:cubicBezTo>
                      <a:pt x="124779" y="195021"/>
                      <a:pt x="125350" y="209457"/>
                      <a:pt x="125730" y="216069"/>
                    </a:cubicBezTo>
                    <a:lnTo>
                      <a:pt x="109753" y="216069"/>
                    </a:lnTo>
                    <a:close/>
                    <a:moveTo>
                      <a:pt x="106044" y="95369"/>
                    </a:moveTo>
                    <a:cubicBezTo>
                      <a:pt x="96533" y="86335"/>
                      <a:pt x="86737" y="77953"/>
                      <a:pt x="67145" y="77953"/>
                    </a:cubicBezTo>
                    <a:cubicBezTo>
                      <a:pt x="47553" y="77953"/>
                      <a:pt x="19592" y="93878"/>
                      <a:pt x="19592" y="141004"/>
                    </a:cubicBezTo>
                    <a:cubicBezTo>
                      <a:pt x="19592" y="178257"/>
                      <a:pt x="36140" y="204055"/>
                      <a:pt x="64958" y="204055"/>
                    </a:cubicBezTo>
                    <a:cubicBezTo>
                      <a:pt x="84264" y="204055"/>
                      <a:pt x="97484" y="190271"/>
                      <a:pt x="106044" y="177046"/>
                    </a:cubicBezTo>
                    <a:lnTo>
                      <a:pt x="106044" y="95462"/>
                    </a:lnTo>
                    <a:close/>
                  </a:path>
                </a:pathLst>
              </a:custGeom>
              <a:grpFill/>
              <a:ln w="9503" cap="flat">
                <a:noFill/>
                <a:prstDash val="solid"/>
                <a:miter/>
              </a:ln>
            </p:spPr>
            <p:txBody>
              <a:bodyPr rtlCol="0" anchor="ctr"/>
              <a:lstStyle/>
              <a:p>
                <a:endParaRPr lang="en-DK"/>
              </a:p>
            </p:txBody>
          </p:sp>
        </p:grpSp>
        <p:grpSp>
          <p:nvGrpSpPr>
            <p:cNvPr id="14" name="Graphic 17">
              <a:extLst>
                <a:ext uri="{FF2B5EF4-FFF2-40B4-BE49-F238E27FC236}">
                  <a16:creationId xmlns:a16="http://schemas.microsoft.com/office/drawing/2014/main" id="{BAD01340-3C66-5E17-379B-D843827E50B3}"/>
                </a:ext>
              </a:extLst>
            </p:cNvPr>
            <p:cNvGrpSpPr/>
            <p:nvPr/>
          </p:nvGrpSpPr>
          <p:grpSpPr>
            <a:xfrm>
              <a:off x="6465963" y="3289300"/>
              <a:ext cx="1730364" cy="282193"/>
              <a:chOff x="6465963" y="3289300"/>
              <a:chExt cx="1730364" cy="282193"/>
            </a:xfrm>
            <a:grpFill/>
          </p:grpSpPr>
          <p:sp>
            <p:nvSpPr>
              <p:cNvPr id="15" name="Freeform 14">
                <a:extLst>
                  <a:ext uri="{FF2B5EF4-FFF2-40B4-BE49-F238E27FC236}">
                    <a16:creationId xmlns:a16="http://schemas.microsoft.com/office/drawing/2014/main" id="{93F44E80-8447-343F-D655-26FC41862E89}"/>
                  </a:ext>
                </a:extLst>
              </p:cNvPr>
              <p:cNvSpPr/>
              <p:nvPr/>
            </p:nvSpPr>
            <p:spPr>
              <a:xfrm>
                <a:off x="6465963" y="3355424"/>
                <a:ext cx="145512" cy="216069"/>
              </a:xfrm>
              <a:custGeom>
                <a:avLst/>
                <a:gdLst>
                  <a:gd name="connsiteX0" fmla="*/ 93204 w 145512"/>
                  <a:gd name="connsiteY0" fmla="*/ 161121 h 216069"/>
                  <a:gd name="connsiteX1" fmla="*/ 18451 w 145512"/>
                  <a:gd name="connsiteY1" fmla="*/ 216069 h 216069"/>
                  <a:gd name="connsiteX2" fmla="*/ 13220 w 145512"/>
                  <a:gd name="connsiteY2" fmla="*/ 189061 h 216069"/>
                  <a:gd name="connsiteX3" fmla="*/ 58871 w 145512"/>
                  <a:gd name="connsiteY3" fmla="*/ 159072 h 216069"/>
                  <a:gd name="connsiteX4" fmla="*/ 61914 w 145512"/>
                  <a:gd name="connsiteY4" fmla="*/ 149479 h 216069"/>
                  <a:gd name="connsiteX5" fmla="*/ 0 w 145512"/>
                  <a:gd name="connsiteY5" fmla="*/ 0 h 216069"/>
                  <a:gd name="connsiteX6" fmla="*/ 36426 w 145512"/>
                  <a:gd name="connsiteY6" fmla="*/ 0 h 216069"/>
                  <a:gd name="connsiteX7" fmla="*/ 63056 w 145512"/>
                  <a:gd name="connsiteY7" fmla="*/ 68453 h 216069"/>
                  <a:gd name="connsiteX8" fmla="*/ 78368 w 145512"/>
                  <a:gd name="connsiteY8" fmla="*/ 114368 h 216069"/>
                  <a:gd name="connsiteX9" fmla="*/ 111179 w 145512"/>
                  <a:gd name="connsiteY9" fmla="*/ 0 h 216069"/>
                  <a:gd name="connsiteX10" fmla="*/ 145513 w 145512"/>
                  <a:gd name="connsiteY10" fmla="*/ 0 h 216069"/>
                  <a:gd name="connsiteX11" fmla="*/ 93109 w 145512"/>
                  <a:gd name="connsiteY11" fmla="*/ 161214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512" h="216069">
                    <a:moveTo>
                      <a:pt x="93204" y="161121"/>
                    </a:moveTo>
                    <a:cubicBezTo>
                      <a:pt x="80650" y="199492"/>
                      <a:pt x="52118" y="211878"/>
                      <a:pt x="18451" y="216069"/>
                    </a:cubicBezTo>
                    <a:lnTo>
                      <a:pt x="13220" y="189061"/>
                    </a:lnTo>
                    <a:cubicBezTo>
                      <a:pt x="37472" y="185428"/>
                      <a:pt x="53640" y="175277"/>
                      <a:pt x="58871" y="159072"/>
                    </a:cubicBezTo>
                    <a:lnTo>
                      <a:pt x="61914" y="149479"/>
                    </a:lnTo>
                    <a:lnTo>
                      <a:pt x="0" y="0"/>
                    </a:lnTo>
                    <a:lnTo>
                      <a:pt x="36426" y="0"/>
                    </a:lnTo>
                    <a:lnTo>
                      <a:pt x="63056" y="68453"/>
                    </a:lnTo>
                    <a:cubicBezTo>
                      <a:pt x="70379" y="87638"/>
                      <a:pt x="78368" y="114368"/>
                      <a:pt x="78368" y="114368"/>
                    </a:cubicBezTo>
                    <a:lnTo>
                      <a:pt x="111179" y="0"/>
                    </a:lnTo>
                    <a:lnTo>
                      <a:pt x="145513" y="0"/>
                    </a:lnTo>
                    <a:lnTo>
                      <a:pt x="93109" y="161214"/>
                    </a:lnTo>
                    <a:close/>
                  </a:path>
                </a:pathLst>
              </a:custGeom>
              <a:grpFill/>
              <a:ln w="9503" cap="flat">
                <a:noFill/>
                <a:prstDash val="solid"/>
                <a:miter/>
              </a:ln>
            </p:spPr>
            <p:txBody>
              <a:bodyPr rtlCol="0" anchor="ctr"/>
              <a:lstStyle/>
              <a:p>
                <a:endParaRPr lang="en-DK"/>
              </a:p>
            </p:txBody>
          </p:sp>
          <p:sp>
            <p:nvSpPr>
              <p:cNvPr id="16" name="Freeform 15">
                <a:extLst>
                  <a:ext uri="{FF2B5EF4-FFF2-40B4-BE49-F238E27FC236}">
                    <a16:creationId xmlns:a16="http://schemas.microsoft.com/office/drawing/2014/main" id="{FEF9EAD4-EDFA-C006-DE69-63EDA03DFF0B}"/>
                  </a:ext>
                </a:extLst>
              </p:cNvPr>
              <p:cNvSpPr/>
              <p:nvPr/>
            </p:nvSpPr>
            <p:spPr>
              <a:xfrm>
                <a:off x="6629927" y="3351140"/>
                <a:ext cx="147795" cy="158419"/>
              </a:xfrm>
              <a:custGeom>
                <a:avLst/>
                <a:gdLst>
                  <a:gd name="connsiteX0" fmla="*/ 73898 w 147795"/>
                  <a:gd name="connsiteY0" fmla="*/ 158420 h 158419"/>
                  <a:gd name="connsiteX1" fmla="*/ 0 w 147795"/>
                  <a:gd name="connsiteY1" fmla="*/ 78605 h 158419"/>
                  <a:gd name="connsiteX2" fmla="*/ 73898 w 147795"/>
                  <a:gd name="connsiteY2" fmla="*/ 0 h 158419"/>
                  <a:gd name="connsiteX3" fmla="*/ 147795 w 147795"/>
                  <a:gd name="connsiteY3" fmla="*/ 78605 h 158419"/>
                  <a:gd name="connsiteX4" fmla="*/ 73898 w 147795"/>
                  <a:gd name="connsiteY4" fmla="*/ 158420 h 158419"/>
                  <a:gd name="connsiteX5" fmla="*/ 73898 w 147795"/>
                  <a:gd name="connsiteY5" fmla="*/ 26357 h 158419"/>
                  <a:gd name="connsiteX6" fmla="*/ 34714 w 147795"/>
                  <a:gd name="connsiteY6" fmla="*/ 78605 h 158419"/>
                  <a:gd name="connsiteX7" fmla="*/ 73898 w 147795"/>
                  <a:gd name="connsiteY7" fmla="*/ 132063 h 158419"/>
                  <a:gd name="connsiteX8" fmla="*/ 113081 w 147795"/>
                  <a:gd name="connsiteY8" fmla="*/ 78605 h 158419"/>
                  <a:gd name="connsiteX9" fmla="*/ 73898 w 147795"/>
                  <a:gd name="connsiteY9" fmla="*/ 26357 h 1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95" h="158419">
                    <a:moveTo>
                      <a:pt x="73898" y="158420"/>
                    </a:moveTo>
                    <a:cubicBezTo>
                      <a:pt x="26725" y="158420"/>
                      <a:pt x="0" y="124799"/>
                      <a:pt x="0" y="78605"/>
                    </a:cubicBezTo>
                    <a:cubicBezTo>
                      <a:pt x="0" y="32410"/>
                      <a:pt x="27581" y="0"/>
                      <a:pt x="73898" y="0"/>
                    </a:cubicBezTo>
                    <a:cubicBezTo>
                      <a:pt x="120214" y="0"/>
                      <a:pt x="147795" y="32410"/>
                      <a:pt x="147795" y="78605"/>
                    </a:cubicBezTo>
                    <a:cubicBezTo>
                      <a:pt x="147795" y="124799"/>
                      <a:pt x="120214" y="158420"/>
                      <a:pt x="73898" y="158420"/>
                    </a:cubicBezTo>
                    <a:close/>
                    <a:moveTo>
                      <a:pt x="73898" y="26357"/>
                    </a:moveTo>
                    <a:cubicBezTo>
                      <a:pt x="47838" y="26357"/>
                      <a:pt x="34714" y="47405"/>
                      <a:pt x="34714" y="78605"/>
                    </a:cubicBezTo>
                    <a:cubicBezTo>
                      <a:pt x="34714" y="109804"/>
                      <a:pt x="48504" y="132063"/>
                      <a:pt x="73898" y="132063"/>
                    </a:cubicBezTo>
                    <a:cubicBezTo>
                      <a:pt x="99291" y="132063"/>
                      <a:pt x="113081" y="109897"/>
                      <a:pt x="113081" y="78605"/>
                    </a:cubicBezTo>
                    <a:cubicBezTo>
                      <a:pt x="113081" y="47312"/>
                      <a:pt x="99005" y="26357"/>
                      <a:pt x="73898" y="26357"/>
                    </a:cubicBezTo>
                    <a:close/>
                  </a:path>
                </a:pathLst>
              </a:custGeom>
              <a:grpFill/>
              <a:ln w="9503" cap="flat">
                <a:noFill/>
                <a:prstDash val="solid"/>
                <a:miter/>
              </a:ln>
            </p:spPr>
            <p:txBody>
              <a:bodyPr rtlCol="0" anchor="ctr"/>
              <a:lstStyle/>
              <a:p>
                <a:endParaRPr lang="en-DK"/>
              </a:p>
            </p:txBody>
          </p:sp>
          <p:sp>
            <p:nvSpPr>
              <p:cNvPr id="17" name="Freeform 16">
                <a:extLst>
                  <a:ext uri="{FF2B5EF4-FFF2-40B4-BE49-F238E27FC236}">
                    <a16:creationId xmlns:a16="http://schemas.microsoft.com/office/drawing/2014/main" id="{77BF0AAC-0CBC-F279-24CC-E5A021AC360C}"/>
                  </a:ext>
                </a:extLst>
              </p:cNvPr>
              <p:cNvSpPr/>
              <p:nvPr/>
            </p:nvSpPr>
            <p:spPr>
              <a:xfrm>
                <a:off x="6812911" y="3355331"/>
                <a:ext cx="127252" cy="153949"/>
              </a:xfrm>
              <a:custGeom>
                <a:avLst/>
                <a:gdLst>
                  <a:gd name="connsiteX0" fmla="*/ 99957 w 127252"/>
                  <a:gd name="connsiteY0" fmla="*/ 150038 h 153949"/>
                  <a:gd name="connsiteX1" fmla="*/ 97199 w 127252"/>
                  <a:gd name="connsiteY1" fmla="*/ 132622 h 153949"/>
                  <a:gd name="connsiteX2" fmla="*/ 53069 w 127252"/>
                  <a:gd name="connsiteY2" fmla="*/ 153949 h 153949"/>
                  <a:gd name="connsiteX3" fmla="*/ 0 w 127252"/>
                  <a:gd name="connsiteY3" fmla="*/ 95462 h 153949"/>
                  <a:gd name="connsiteX4" fmla="*/ 0 w 127252"/>
                  <a:gd name="connsiteY4" fmla="*/ 0 h 153949"/>
                  <a:gd name="connsiteX5" fmla="*/ 34048 w 127252"/>
                  <a:gd name="connsiteY5" fmla="*/ 0 h 153949"/>
                  <a:gd name="connsiteX6" fmla="*/ 34048 w 127252"/>
                  <a:gd name="connsiteY6" fmla="*/ 90619 h 153949"/>
                  <a:gd name="connsiteX7" fmla="*/ 60107 w 127252"/>
                  <a:gd name="connsiteY7" fmla="*/ 127220 h 153949"/>
                  <a:gd name="connsiteX8" fmla="*/ 91682 w 127252"/>
                  <a:gd name="connsiteY8" fmla="*/ 108035 h 153949"/>
                  <a:gd name="connsiteX9" fmla="*/ 91682 w 127252"/>
                  <a:gd name="connsiteY9" fmla="*/ 0 h 153949"/>
                  <a:gd name="connsiteX10" fmla="*/ 125731 w 127252"/>
                  <a:gd name="connsiteY10" fmla="*/ 0 h 153949"/>
                  <a:gd name="connsiteX11" fmla="*/ 125731 w 127252"/>
                  <a:gd name="connsiteY11" fmla="*/ 123029 h 153949"/>
                  <a:gd name="connsiteX12" fmla="*/ 127252 w 127252"/>
                  <a:gd name="connsiteY12" fmla="*/ 150038 h 153949"/>
                  <a:gd name="connsiteX13" fmla="*/ 99957 w 127252"/>
                  <a:gd name="connsiteY13" fmla="*/ 150038 h 1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252" h="153949">
                    <a:moveTo>
                      <a:pt x="99957" y="150038"/>
                    </a:moveTo>
                    <a:lnTo>
                      <a:pt x="97199" y="132622"/>
                    </a:lnTo>
                    <a:cubicBezTo>
                      <a:pt x="86452" y="146126"/>
                      <a:pt x="71425" y="153949"/>
                      <a:pt x="53069" y="153949"/>
                    </a:cubicBezTo>
                    <a:cubicBezTo>
                      <a:pt x="15027" y="153949"/>
                      <a:pt x="0" y="131784"/>
                      <a:pt x="0" y="95462"/>
                    </a:cubicBezTo>
                    <a:lnTo>
                      <a:pt x="0" y="0"/>
                    </a:lnTo>
                    <a:lnTo>
                      <a:pt x="34048" y="0"/>
                    </a:lnTo>
                    <a:lnTo>
                      <a:pt x="34048" y="90619"/>
                    </a:lnTo>
                    <a:cubicBezTo>
                      <a:pt x="34048" y="117069"/>
                      <a:pt x="39850" y="127220"/>
                      <a:pt x="60107" y="127220"/>
                    </a:cubicBezTo>
                    <a:cubicBezTo>
                      <a:pt x="76085" y="127220"/>
                      <a:pt x="86452" y="115485"/>
                      <a:pt x="91682" y="108035"/>
                    </a:cubicBezTo>
                    <a:lnTo>
                      <a:pt x="91682" y="0"/>
                    </a:lnTo>
                    <a:lnTo>
                      <a:pt x="125731" y="0"/>
                    </a:lnTo>
                    <a:lnTo>
                      <a:pt x="125731" y="123029"/>
                    </a:lnTo>
                    <a:cubicBezTo>
                      <a:pt x="125731" y="128151"/>
                      <a:pt x="126967" y="144915"/>
                      <a:pt x="127252" y="150038"/>
                    </a:cubicBezTo>
                    <a:lnTo>
                      <a:pt x="99957" y="150038"/>
                    </a:lnTo>
                    <a:close/>
                  </a:path>
                </a:pathLst>
              </a:custGeom>
              <a:grpFill/>
              <a:ln w="9503" cap="flat">
                <a:noFill/>
                <a:prstDash val="solid"/>
                <a:miter/>
              </a:ln>
            </p:spPr>
            <p:txBody>
              <a:bodyPr rtlCol="0" anchor="ctr"/>
              <a:lstStyle/>
              <a:p>
                <a:endParaRPr lang="en-DK"/>
              </a:p>
            </p:txBody>
          </p:sp>
          <p:sp>
            <p:nvSpPr>
              <p:cNvPr id="18" name="Freeform 17">
                <a:extLst>
                  <a:ext uri="{FF2B5EF4-FFF2-40B4-BE49-F238E27FC236}">
                    <a16:creationId xmlns:a16="http://schemas.microsoft.com/office/drawing/2014/main" id="{9F132D36-DBE9-EB79-7DE2-E716F58641B1}"/>
                  </a:ext>
                </a:extLst>
              </p:cNvPr>
              <p:cNvSpPr/>
              <p:nvPr/>
            </p:nvSpPr>
            <p:spPr>
              <a:xfrm>
                <a:off x="6980013" y="3351140"/>
                <a:ext cx="93204" cy="154228"/>
              </a:xfrm>
              <a:custGeom>
                <a:avLst/>
                <a:gdLst>
                  <a:gd name="connsiteX0" fmla="*/ 83123 w 93204"/>
                  <a:gd name="connsiteY0" fmla="*/ 37160 h 154228"/>
                  <a:gd name="connsiteX1" fmla="*/ 68381 w 93204"/>
                  <a:gd name="connsiteY1" fmla="*/ 32690 h 154228"/>
                  <a:gd name="connsiteX2" fmla="*/ 35570 w 93204"/>
                  <a:gd name="connsiteY2" fmla="*/ 56066 h 154228"/>
                  <a:gd name="connsiteX3" fmla="*/ 35570 w 93204"/>
                  <a:gd name="connsiteY3" fmla="*/ 154229 h 154228"/>
                  <a:gd name="connsiteX4" fmla="*/ 1521 w 93204"/>
                  <a:gd name="connsiteY4" fmla="*/ 154229 h 154228"/>
                  <a:gd name="connsiteX5" fmla="*/ 1521 w 93204"/>
                  <a:gd name="connsiteY5" fmla="*/ 32410 h 154228"/>
                  <a:gd name="connsiteX6" fmla="*/ 0 w 93204"/>
                  <a:gd name="connsiteY6" fmla="*/ 4191 h 154228"/>
                  <a:gd name="connsiteX7" fmla="*/ 26059 w 93204"/>
                  <a:gd name="connsiteY7" fmla="*/ 4191 h 154228"/>
                  <a:gd name="connsiteX8" fmla="*/ 28817 w 93204"/>
                  <a:gd name="connsiteY8" fmla="*/ 29710 h 154228"/>
                  <a:gd name="connsiteX9" fmla="*/ 77892 w 93204"/>
                  <a:gd name="connsiteY9" fmla="*/ 0 h 154228"/>
                  <a:gd name="connsiteX10" fmla="*/ 93204 w 93204"/>
                  <a:gd name="connsiteY10" fmla="*/ 2421 h 154228"/>
                  <a:gd name="connsiteX11" fmla="*/ 83123 w 93204"/>
                  <a:gd name="connsiteY11" fmla="*/ 37253 h 15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04" h="154228">
                    <a:moveTo>
                      <a:pt x="83123" y="37160"/>
                    </a:moveTo>
                    <a:cubicBezTo>
                      <a:pt x="78177" y="34180"/>
                      <a:pt x="73898" y="32690"/>
                      <a:pt x="68381" y="32690"/>
                    </a:cubicBezTo>
                    <a:cubicBezTo>
                      <a:pt x="53640" y="32690"/>
                      <a:pt x="44129" y="42934"/>
                      <a:pt x="35570" y="56066"/>
                    </a:cubicBezTo>
                    <a:lnTo>
                      <a:pt x="35570" y="154229"/>
                    </a:lnTo>
                    <a:lnTo>
                      <a:pt x="1521" y="154229"/>
                    </a:lnTo>
                    <a:lnTo>
                      <a:pt x="1521" y="32410"/>
                    </a:lnTo>
                    <a:cubicBezTo>
                      <a:pt x="1521" y="27288"/>
                      <a:pt x="285" y="9313"/>
                      <a:pt x="0" y="4191"/>
                    </a:cubicBezTo>
                    <a:lnTo>
                      <a:pt x="26059" y="4191"/>
                    </a:lnTo>
                    <a:lnTo>
                      <a:pt x="28817" y="29710"/>
                    </a:lnTo>
                    <a:cubicBezTo>
                      <a:pt x="37091" y="14063"/>
                      <a:pt x="51452" y="0"/>
                      <a:pt x="77892" y="0"/>
                    </a:cubicBezTo>
                    <a:cubicBezTo>
                      <a:pt x="83123" y="0"/>
                      <a:pt x="88924" y="931"/>
                      <a:pt x="93204" y="2421"/>
                    </a:cubicBezTo>
                    <a:lnTo>
                      <a:pt x="83123" y="37253"/>
                    </a:lnTo>
                    <a:close/>
                  </a:path>
                </a:pathLst>
              </a:custGeom>
              <a:grpFill/>
              <a:ln w="9503" cap="flat">
                <a:noFill/>
                <a:prstDash val="solid"/>
                <a:miter/>
              </a:ln>
            </p:spPr>
            <p:txBody>
              <a:bodyPr rtlCol="0" anchor="ctr"/>
              <a:lstStyle/>
              <a:p>
                <a:endParaRPr lang="en-DK"/>
              </a:p>
            </p:txBody>
          </p:sp>
          <p:sp>
            <p:nvSpPr>
              <p:cNvPr id="19" name="Freeform 18">
                <a:extLst>
                  <a:ext uri="{FF2B5EF4-FFF2-40B4-BE49-F238E27FC236}">
                    <a16:creationId xmlns:a16="http://schemas.microsoft.com/office/drawing/2014/main" id="{10DCBF52-0351-AD78-9AF6-AA27C7FDB235}"/>
                  </a:ext>
                </a:extLst>
              </p:cNvPr>
              <p:cNvSpPr/>
              <p:nvPr/>
            </p:nvSpPr>
            <p:spPr>
              <a:xfrm>
                <a:off x="7192956" y="3351140"/>
                <a:ext cx="218744" cy="154321"/>
              </a:xfrm>
              <a:custGeom>
                <a:avLst/>
                <a:gdLst>
                  <a:gd name="connsiteX0" fmla="*/ 184982 w 218744"/>
                  <a:gd name="connsiteY0" fmla="*/ 154229 h 154321"/>
                  <a:gd name="connsiteX1" fmla="*/ 184982 w 218744"/>
                  <a:gd name="connsiteY1" fmla="*/ 67242 h 154321"/>
                  <a:gd name="connsiteX2" fmla="*/ 157972 w 218744"/>
                  <a:gd name="connsiteY2" fmla="*/ 27288 h 154321"/>
                  <a:gd name="connsiteX3" fmla="*/ 126682 w 218744"/>
                  <a:gd name="connsiteY3" fmla="*/ 47405 h 154321"/>
                  <a:gd name="connsiteX4" fmla="*/ 127252 w 218744"/>
                  <a:gd name="connsiteY4" fmla="*/ 57277 h 154321"/>
                  <a:gd name="connsiteX5" fmla="*/ 127252 w 218744"/>
                  <a:gd name="connsiteY5" fmla="*/ 154229 h 154321"/>
                  <a:gd name="connsiteX6" fmla="*/ 93204 w 218744"/>
                  <a:gd name="connsiteY6" fmla="*/ 154229 h 154321"/>
                  <a:gd name="connsiteX7" fmla="*/ 93204 w 218744"/>
                  <a:gd name="connsiteY7" fmla="*/ 67522 h 154321"/>
                  <a:gd name="connsiteX8" fmla="*/ 66194 w 218744"/>
                  <a:gd name="connsiteY8" fmla="*/ 27288 h 154321"/>
                  <a:gd name="connsiteX9" fmla="*/ 35570 w 218744"/>
                  <a:gd name="connsiteY9" fmla="*/ 47405 h 154321"/>
                  <a:gd name="connsiteX10" fmla="*/ 35570 w 218744"/>
                  <a:gd name="connsiteY10" fmla="*/ 154229 h 154321"/>
                  <a:gd name="connsiteX11" fmla="*/ 1522 w 218744"/>
                  <a:gd name="connsiteY11" fmla="*/ 154229 h 154321"/>
                  <a:gd name="connsiteX12" fmla="*/ 1522 w 218744"/>
                  <a:gd name="connsiteY12" fmla="*/ 31200 h 154321"/>
                  <a:gd name="connsiteX13" fmla="*/ 0 w 218744"/>
                  <a:gd name="connsiteY13" fmla="*/ 4191 h 154321"/>
                  <a:gd name="connsiteX14" fmla="*/ 26630 w 218744"/>
                  <a:gd name="connsiteY14" fmla="*/ 4191 h 154321"/>
                  <a:gd name="connsiteX15" fmla="*/ 29958 w 218744"/>
                  <a:gd name="connsiteY15" fmla="*/ 22818 h 154321"/>
                  <a:gd name="connsiteX16" fmla="*/ 72281 w 218744"/>
                  <a:gd name="connsiteY16" fmla="*/ 0 h 154321"/>
                  <a:gd name="connsiteX17" fmla="*/ 118217 w 218744"/>
                  <a:gd name="connsiteY17" fmla="*/ 24028 h 154321"/>
                  <a:gd name="connsiteX18" fmla="*/ 164154 w 218744"/>
                  <a:gd name="connsiteY18" fmla="*/ 0 h 154321"/>
                  <a:gd name="connsiteX19" fmla="*/ 218745 w 218744"/>
                  <a:gd name="connsiteY19" fmla="*/ 68453 h 154321"/>
                  <a:gd name="connsiteX20" fmla="*/ 218745 w 218744"/>
                  <a:gd name="connsiteY20" fmla="*/ 154322 h 154321"/>
                  <a:gd name="connsiteX21" fmla="*/ 184697 w 218744"/>
                  <a:gd name="connsiteY21" fmla="*/ 154322 h 15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8744" h="154321">
                    <a:moveTo>
                      <a:pt x="184982" y="154229"/>
                    </a:moveTo>
                    <a:lnTo>
                      <a:pt x="184982" y="67242"/>
                    </a:lnTo>
                    <a:cubicBezTo>
                      <a:pt x="184982" y="42655"/>
                      <a:pt x="179180" y="27288"/>
                      <a:pt x="157972" y="27288"/>
                    </a:cubicBezTo>
                    <a:cubicBezTo>
                      <a:pt x="144181" y="27288"/>
                      <a:pt x="133719" y="37160"/>
                      <a:pt x="126682" y="47405"/>
                    </a:cubicBezTo>
                    <a:cubicBezTo>
                      <a:pt x="126967" y="50106"/>
                      <a:pt x="127252" y="54297"/>
                      <a:pt x="127252" y="57277"/>
                    </a:cubicBezTo>
                    <a:lnTo>
                      <a:pt x="127252" y="154229"/>
                    </a:lnTo>
                    <a:lnTo>
                      <a:pt x="93204" y="154229"/>
                    </a:lnTo>
                    <a:lnTo>
                      <a:pt x="93204" y="67522"/>
                    </a:lnTo>
                    <a:cubicBezTo>
                      <a:pt x="93204" y="41724"/>
                      <a:pt x="88639" y="27288"/>
                      <a:pt x="66194" y="27288"/>
                    </a:cubicBezTo>
                    <a:cubicBezTo>
                      <a:pt x="53355" y="27288"/>
                      <a:pt x="42322" y="38092"/>
                      <a:pt x="35570" y="47405"/>
                    </a:cubicBezTo>
                    <a:lnTo>
                      <a:pt x="35570" y="154229"/>
                    </a:lnTo>
                    <a:lnTo>
                      <a:pt x="1522" y="154229"/>
                    </a:lnTo>
                    <a:lnTo>
                      <a:pt x="1522" y="31200"/>
                    </a:lnTo>
                    <a:cubicBezTo>
                      <a:pt x="1522" y="26077"/>
                      <a:pt x="285" y="9313"/>
                      <a:pt x="0" y="4191"/>
                    </a:cubicBezTo>
                    <a:lnTo>
                      <a:pt x="26630" y="4191"/>
                    </a:lnTo>
                    <a:lnTo>
                      <a:pt x="29958" y="22818"/>
                    </a:lnTo>
                    <a:cubicBezTo>
                      <a:pt x="40991" y="9872"/>
                      <a:pt x="55067" y="0"/>
                      <a:pt x="72281" y="0"/>
                    </a:cubicBezTo>
                    <a:cubicBezTo>
                      <a:pt x="96153" y="0"/>
                      <a:pt x="109087" y="9034"/>
                      <a:pt x="118217" y="24028"/>
                    </a:cubicBezTo>
                    <a:cubicBezTo>
                      <a:pt x="128013" y="11083"/>
                      <a:pt x="142755" y="0"/>
                      <a:pt x="164154" y="0"/>
                    </a:cubicBezTo>
                    <a:cubicBezTo>
                      <a:pt x="202481" y="0"/>
                      <a:pt x="218745" y="20676"/>
                      <a:pt x="218745" y="68453"/>
                    </a:cubicBezTo>
                    <a:lnTo>
                      <a:pt x="218745" y="154322"/>
                    </a:lnTo>
                    <a:lnTo>
                      <a:pt x="184697" y="154322"/>
                    </a:lnTo>
                    <a:close/>
                  </a:path>
                </a:pathLst>
              </a:custGeom>
              <a:grpFill/>
              <a:ln w="9503" cap="flat">
                <a:noFill/>
                <a:prstDash val="solid"/>
                <a:miter/>
              </a:ln>
            </p:spPr>
            <p:txBody>
              <a:bodyPr rtlCol="0" anchor="ctr"/>
              <a:lstStyle/>
              <a:p>
                <a:endParaRPr lang="en-DK"/>
              </a:p>
            </p:txBody>
          </p:sp>
          <p:sp>
            <p:nvSpPr>
              <p:cNvPr id="20" name="Freeform 19">
                <a:extLst>
                  <a:ext uri="{FF2B5EF4-FFF2-40B4-BE49-F238E27FC236}">
                    <a16:creationId xmlns:a16="http://schemas.microsoft.com/office/drawing/2014/main" id="{7A2BE8D5-042D-1A27-C4BE-0DF6F3EF2DA0}"/>
                  </a:ext>
                </a:extLst>
              </p:cNvPr>
              <p:cNvSpPr/>
              <p:nvPr/>
            </p:nvSpPr>
            <p:spPr>
              <a:xfrm>
                <a:off x="7454879" y="3289300"/>
                <a:ext cx="36425" cy="216069"/>
              </a:xfrm>
              <a:custGeom>
                <a:avLst/>
                <a:gdLst>
                  <a:gd name="connsiteX0" fmla="*/ 0 w 36425"/>
                  <a:gd name="connsiteY0" fmla="*/ 32969 h 216069"/>
                  <a:gd name="connsiteX1" fmla="*/ 0 w 36425"/>
                  <a:gd name="connsiteY1" fmla="*/ 0 h 216069"/>
                  <a:gd name="connsiteX2" fmla="*/ 36426 w 36425"/>
                  <a:gd name="connsiteY2" fmla="*/ 0 h 216069"/>
                  <a:gd name="connsiteX3" fmla="*/ 36426 w 36425"/>
                  <a:gd name="connsiteY3" fmla="*/ 32969 h 216069"/>
                  <a:gd name="connsiteX4" fmla="*/ 0 w 36425"/>
                  <a:gd name="connsiteY4" fmla="*/ 32969 h 216069"/>
                  <a:gd name="connsiteX5" fmla="*/ 1236 w 36425"/>
                  <a:gd name="connsiteY5" fmla="*/ 216069 h 216069"/>
                  <a:gd name="connsiteX6" fmla="*/ 1236 w 36425"/>
                  <a:gd name="connsiteY6" fmla="*/ 66032 h 216069"/>
                  <a:gd name="connsiteX7" fmla="*/ 35284 w 36425"/>
                  <a:gd name="connsiteY7" fmla="*/ 66032 h 216069"/>
                  <a:gd name="connsiteX8" fmla="*/ 35284 w 36425"/>
                  <a:gd name="connsiteY8" fmla="*/ 216069 h 216069"/>
                  <a:gd name="connsiteX9" fmla="*/ 1236 w 36425"/>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25" h="216069">
                    <a:moveTo>
                      <a:pt x="0" y="32969"/>
                    </a:moveTo>
                    <a:lnTo>
                      <a:pt x="0" y="0"/>
                    </a:lnTo>
                    <a:lnTo>
                      <a:pt x="36426" y="0"/>
                    </a:lnTo>
                    <a:lnTo>
                      <a:pt x="36426" y="32969"/>
                    </a:lnTo>
                    <a:lnTo>
                      <a:pt x="0" y="32969"/>
                    </a:lnTo>
                    <a:close/>
                    <a:moveTo>
                      <a:pt x="1236" y="216069"/>
                    </a:moveTo>
                    <a:lnTo>
                      <a:pt x="1236" y="66032"/>
                    </a:lnTo>
                    <a:lnTo>
                      <a:pt x="35284" y="66032"/>
                    </a:lnTo>
                    <a:lnTo>
                      <a:pt x="35284" y="216069"/>
                    </a:lnTo>
                    <a:lnTo>
                      <a:pt x="1236" y="216069"/>
                    </a:lnTo>
                    <a:close/>
                  </a:path>
                </a:pathLst>
              </a:custGeom>
              <a:grpFill/>
              <a:ln w="9503" cap="flat">
                <a:noFill/>
                <a:prstDash val="solid"/>
                <a:miter/>
              </a:ln>
            </p:spPr>
            <p:txBody>
              <a:bodyPr rtlCol="0" anchor="ctr"/>
              <a:lstStyle/>
              <a:p>
                <a:endParaRPr lang="en-DK"/>
              </a:p>
            </p:txBody>
          </p:sp>
          <p:sp>
            <p:nvSpPr>
              <p:cNvPr id="21" name="Freeform 20">
                <a:extLst>
                  <a:ext uri="{FF2B5EF4-FFF2-40B4-BE49-F238E27FC236}">
                    <a16:creationId xmlns:a16="http://schemas.microsoft.com/office/drawing/2014/main" id="{8BBC0770-2629-ECF2-F877-444A21CD1196}"/>
                  </a:ext>
                </a:extLst>
              </p:cNvPr>
              <p:cNvSpPr/>
              <p:nvPr/>
            </p:nvSpPr>
            <p:spPr>
              <a:xfrm>
                <a:off x="7520502" y="3351326"/>
                <a:ext cx="120689" cy="157954"/>
              </a:xfrm>
              <a:custGeom>
                <a:avLst/>
                <a:gdLst>
                  <a:gd name="connsiteX0" fmla="*/ 61914 w 120689"/>
                  <a:gd name="connsiteY0" fmla="*/ 157954 h 157954"/>
                  <a:gd name="connsiteX1" fmla="*/ 0 w 120689"/>
                  <a:gd name="connsiteY1" fmla="*/ 139048 h 157954"/>
                  <a:gd name="connsiteX2" fmla="*/ 15598 w 120689"/>
                  <a:gd name="connsiteY2" fmla="*/ 115299 h 157954"/>
                  <a:gd name="connsiteX3" fmla="*/ 60678 w 120689"/>
                  <a:gd name="connsiteY3" fmla="*/ 131784 h 157954"/>
                  <a:gd name="connsiteX4" fmla="*/ 85786 w 120689"/>
                  <a:gd name="connsiteY4" fmla="*/ 115020 h 157954"/>
                  <a:gd name="connsiteX5" fmla="*/ 55732 w 120689"/>
                  <a:gd name="connsiteY5" fmla="*/ 91271 h 157954"/>
                  <a:gd name="connsiteX6" fmla="*/ 6372 w 120689"/>
                  <a:gd name="connsiteY6" fmla="*/ 44145 h 157954"/>
                  <a:gd name="connsiteX7" fmla="*/ 64577 w 120689"/>
                  <a:gd name="connsiteY7" fmla="*/ 0 h 157954"/>
                  <a:gd name="connsiteX8" fmla="*/ 118788 w 120689"/>
                  <a:gd name="connsiteY8" fmla="*/ 16205 h 157954"/>
                  <a:gd name="connsiteX9" fmla="*/ 104427 w 120689"/>
                  <a:gd name="connsiteY9" fmla="*/ 39302 h 157954"/>
                  <a:gd name="connsiteX10" fmla="*/ 65528 w 120689"/>
                  <a:gd name="connsiteY10" fmla="*/ 26077 h 157954"/>
                  <a:gd name="connsiteX11" fmla="*/ 41276 w 120689"/>
                  <a:gd name="connsiteY11" fmla="*/ 41724 h 157954"/>
                  <a:gd name="connsiteX12" fmla="*/ 75895 w 120689"/>
                  <a:gd name="connsiteY12" fmla="*/ 64821 h 157954"/>
                  <a:gd name="connsiteX13" fmla="*/ 120690 w 120689"/>
                  <a:gd name="connsiteY13" fmla="*/ 113716 h 157954"/>
                  <a:gd name="connsiteX14" fmla="*/ 61819 w 120689"/>
                  <a:gd name="connsiteY14" fmla="*/ 157861 h 1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689" h="157954">
                    <a:moveTo>
                      <a:pt x="61914" y="157954"/>
                    </a:moveTo>
                    <a:cubicBezTo>
                      <a:pt x="33097" y="157954"/>
                      <a:pt x="16263" y="149572"/>
                      <a:pt x="0" y="139048"/>
                    </a:cubicBezTo>
                    <a:lnTo>
                      <a:pt x="15598" y="115299"/>
                    </a:lnTo>
                    <a:cubicBezTo>
                      <a:pt x="28817" y="124612"/>
                      <a:pt x="44129" y="131784"/>
                      <a:pt x="60678" y="131784"/>
                    </a:cubicBezTo>
                    <a:cubicBezTo>
                      <a:pt x="77226" y="131784"/>
                      <a:pt x="85786" y="124612"/>
                      <a:pt x="85786" y="115020"/>
                    </a:cubicBezTo>
                    <a:cubicBezTo>
                      <a:pt x="85786" y="101795"/>
                      <a:pt x="76941" y="96672"/>
                      <a:pt x="55732" y="91271"/>
                    </a:cubicBezTo>
                    <a:cubicBezTo>
                      <a:pt x="32146" y="85310"/>
                      <a:pt x="6372" y="73855"/>
                      <a:pt x="6372" y="44145"/>
                    </a:cubicBezTo>
                    <a:cubicBezTo>
                      <a:pt x="6372" y="16578"/>
                      <a:pt x="30244" y="0"/>
                      <a:pt x="64577" y="0"/>
                    </a:cubicBezTo>
                    <a:cubicBezTo>
                      <a:pt x="86356" y="0"/>
                      <a:pt x="101669" y="4191"/>
                      <a:pt x="118788" y="16205"/>
                    </a:cubicBezTo>
                    <a:lnTo>
                      <a:pt x="104427" y="39302"/>
                    </a:lnTo>
                    <a:cubicBezTo>
                      <a:pt x="91207" y="29430"/>
                      <a:pt x="74659" y="26077"/>
                      <a:pt x="65528" y="26077"/>
                    </a:cubicBezTo>
                    <a:cubicBezTo>
                      <a:pt x="48029" y="26077"/>
                      <a:pt x="41276" y="32410"/>
                      <a:pt x="41276" y="41724"/>
                    </a:cubicBezTo>
                    <a:cubicBezTo>
                      <a:pt x="41276" y="54669"/>
                      <a:pt x="52594" y="58488"/>
                      <a:pt x="75895" y="64821"/>
                    </a:cubicBezTo>
                    <a:cubicBezTo>
                      <a:pt x="95487" y="69943"/>
                      <a:pt x="120690" y="80095"/>
                      <a:pt x="120690" y="113716"/>
                    </a:cubicBezTo>
                    <a:cubicBezTo>
                      <a:pt x="120690" y="144915"/>
                      <a:pt x="90922" y="157861"/>
                      <a:pt x="61819" y="157861"/>
                    </a:cubicBezTo>
                    <a:close/>
                  </a:path>
                </a:pathLst>
              </a:custGeom>
              <a:grpFill/>
              <a:ln w="9503" cap="flat">
                <a:noFill/>
                <a:prstDash val="solid"/>
                <a:miter/>
              </a:ln>
            </p:spPr>
            <p:txBody>
              <a:bodyPr rtlCol="0" anchor="ctr"/>
              <a:lstStyle/>
              <a:p>
                <a:endParaRPr lang="en-DK"/>
              </a:p>
            </p:txBody>
          </p:sp>
          <p:sp>
            <p:nvSpPr>
              <p:cNvPr id="22" name="Freeform 21">
                <a:extLst>
                  <a:ext uri="{FF2B5EF4-FFF2-40B4-BE49-F238E27FC236}">
                    <a16:creationId xmlns:a16="http://schemas.microsoft.com/office/drawing/2014/main" id="{6E52C48F-4E41-581C-0E20-D0B1337AEFA5}"/>
                  </a:ext>
                </a:extLst>
              </p:cNvPr>
              <p:cNvSpPr/>
              <p:nvPr/>
            </p:nvSpPr>
            <p:spPr>
              <a:xfrm>
                <a:off x="7658502" y="3351326"/>
                <a:ext cx="120689" cy="157954"/>
              </a:xfrm>
              <a:custGeom>
                <a:avLst/>
                <a:gdLst>
                  <a:gd name="connsiteX0" fmla="*/ 61914 w 120689"/>
                  <a:gd name="connsiteY0" fmla="*/ 157954 h 157954"/>
                  <a:gd name="connsiteX1" fmla="*/ 0 w 120689"/>
                  <a:gd name="connsiteY1" fmla="*/ 139048 h 157954"/>
                  <a:gd name="connsiteX2" fmla="*/ 15597 w 120689"/>
                  <a:gd name="connsiteY2" fmla="*/ 115299 h 157954"/>
                  <a:gd name="connsiteX3" fmla="*/ 60678 w 120689"/>
                  <a:gd name="connsiteY3" fmla="*/ 131784 h 157954"/>
                  <a:gd name="connsiteX4" fmla="*/ 85786 w 120689"/>
                  <a:gd name="connsiteY4" fmla="*/ 115020 h 157954"/>
                  <a:gd name="connsiteX5" fmla="*/ 55732 w 120689"/>
                  <a:gd name="connsiteY5" fmla="*/ 91271 h 157954"/>
                  <a:gd name="connsiteX6" fmla="*/ 6372 w 120689"/>
                  <a:gd name="connsiteY6" fmla="*/ 44145 h 157954"/>
                  <a:gd name="connsiteX7" fmla="*/ 64577 w 120689"/>
                  <a:gd name="connsiteY7" fmla="*/ 0 h 157954"/>
                  <a:gd name="connsiteX8" fmla="*/ 118788 w 120689"/>
                  <a:gd name="connsiteY8" fmla="*/ 16205 h 157954"/>
                  <a:gd name="connsiteX9" fmla="*/ 104427 w 120689"/>
                  <a:gd name="connsiteY9" fmla="*/ 39302 h 157954"/>
                  <a:gd name="connsiteX10" fmla="*/ 65528 w 120689"/>
                  <a:gd name="connsiteY10" fmla="*/ 26077 h 157954"/>
                  <a:gd name="connsiteX11" fmla="*/ 41276 w 120689"/>
                  <a:gd name="connsiteY11" fmla="*/ 41724 h 157954"/>
                  <a:gd name="connsiteX12" fmla="*/ 75895 w 120689"/>
                  <a:gd name="connsiteY12" fmla="*/ 64821 h 157954"/>
                  <a:gd name="connsiteX13" fmla="*/ 120690 w 120689"/>
                  <a:gd name="connsiteY13" fmla="*/ 113716 h 157954"/>
                  <a:gd name="connsiteX14" fmla="*/ 61819 w 120689"/>
                  <a:gd name="connsiteY14" fmla="*/ 157861 h 1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689" h="157954">
                    <a:moveTo>
                      <a:pt x="61914" y="157954"/>
                    </a:moveTo>
                    <a:cubicBezTo>
                      <a:pt x="33097" y="157954"/>
                      <a:pt x="16263" y="149572"/>
                      <a:pt x="0" y="139048"/>
                    </a:cubicBezTo>
                    <a:lnTo>
                      <a:pt x="15597" y="115299"/>
                    </a:lnTo>
                    <a:cubicBezTo>
                      <a:pt x="28817" y="124612"/>
                      <a:pt x="44129" y="131784"/>
                      <a:pt x="60678" y="131784"/>
                    </a:cubicBezTo>
                    <a:cubicBezTo>
                      <a:pt x="77226" y="131784"/>
                      <a:pt x="85786" y="124612"/>
                      <a:pt x="85786" y="115020"/>
                    </a:cubicBezTo>
                    <a:cubicBezTo>
                      <a:pt x="85786" y="101795"/>
                      <a:pt x="76941" y="96672"/>
                      <a:pt x="55732" y="91271"/>
                    </a:cubicBezTo>
                    <a:cubicBezTo>
                      <a:pt x="32146" y="85310"/>
                      <a:pt x="6372" y="73855"/>
                      <a:pt x="6372" y="44145"/>
                    </a:cubicBezTo>
                    <a:cubicBezTo>
                      <a:pt x="6372" y="16578"/>
                      <a:pt x="30244" y="0"/>
                      <a:pt x="64577" y="0"/>
                    </a:cubicBezTo>
                    <a:cubicBezTo>
                      <a:pt x="86356" y="0"/>
                      <a:pt x="101669" y="4191"/>
                      <a:pt x="118788" y="16205"/>
                    </a:cubicBezTo>
                    <a:lnTo>
                      <a:pt x="104427" y="39302"/>
                    </a:lnTo>
                    <a:cubicBezTo>
                      <a:pt x="91207" y="29430"/>
                      <a:pt x="74659" y="26077"/>
                      <a:pt x="65528" y="26077"/>
                    </a:cubicBezTo>
                    <a:cubicBezTo>
                      <a:pt x="48029" y="26077"/>
                      <a:pt x="41276" y="32410"/>
                      <a:pt x="41276" y="41724"/>
                    </a:cubicBezTo>
                    <a:cubicBezTo>
                      <a:pt x="41276" y="54669"/>
                      <a:pt x="52594" y="58488"/>
                      <a:pt x="75895" y="64821"/>
                    </a:cubicBezTo>
                    <a:cubicBezTo>
                      <a:pt x="95487" y="69943"/>
                      <a:pt x="120690" y="80095"/>
                      <a:pt x="120690" y="113716"/>
                    </a:cubicBezTo>
                    <a:cubicBezTo>
                      <a:pt x="120690" y="144915"/>
                      <a:pt x="90922" y="157861"/>
                      <a:pt x="61819" y="157861"/>
                    </a:cubicBezTo>
                    <a:close/>
                  </a:path>
                </a:pathLst>
              </a:custGeom>
              <a:grpFill/>
              <a:ln w="9503" cap="flat">
                <a:noFill/>
                <a:prstDash val="solid"/>
                <a:miter/>
              </a:ln>
            </p:spPr>
            <p:txBody>
              <a:bodyPr rtlCol="0" anchor="ctr"/>
              <a:lstStyle/>
              <a:p>
                <a:endParaRPr lang="en-DK"/>
              </a:p>
            </p:txBody>
          </p:sp>
          <p:sp>
            <p:nvSpPr>
              <p:cNvPr id="23" name="Freeform 22">
                <a:extLst>
                  <a:ext uri="{FF2B5EF4-FFF2-40B4-BE49-F238E27FC236}">
                    <a16:creationId xmlns:a16="http://schemas.microsoft.com/office/drawing/2014/main" id="{6C1F57CE-E6C4-C3A7-E0CE-58F921EFB2BD}"/>
                  </a:ext>
                </a:extLst>
              </p:cNvPr>
              <p:cNvSpPr/>
              <p:nvPr/>
            </p:nvSpPr>
            <p:spPr>
              <a:xfrm>
                <a:off x="7812954" y="3289300"/>
                <a:ext cx="36425" cy="216069"/>
              </a:xfrm>
              <a:custGeom>
                <a:avLst/>
                <a:gdLst>
                  <a:gd name="connsiteX0" fmla="*/ 0 w 36425"/>
                  <a:gd name="connsiteY0" fmla="*/ 32969 h 216069"/>
                  <a:gd name="connsiteX1" fmla="*/ 0 w 36425"/>
                  <a:gd name="connsiteY1" fmla="*/ 0 h 216069"/>
                  <a:gd name="connsiteX2" fmla="*/ 36426 w 36425"/>
                  <a:gd name="connsiteY2" fmla="*/ 0 h 216069"/>
                  <a:gd name="connsiteX3" fmla="*/ 36426 w 36425"/>
                  <a:gd name="connsiteY3" fmla="*/ 32969 h 216069"/>
                  <a:gd name="connsiteX4" fmla="*/ 0 w 36425"/>
                  <a:gd name="connsiteY4" fmla="*/ 32969 h 216069"/>
                  <a:gd name="connsiteX5" fmla="*/ 1236 w 36425"/>
                  <a:gd name="connsiteY5" fmla="*/ 216069 h 216069"/>
                  <a:gd name="connsiteX6" fmla="*/ 1236 w 36425"/>
                  <a:gd name="connsiteY6" fmla="*/ 66032 h 216069"/>
                  <a:gd name="connsiteX7" fmla="*/ 35284 w 36425"/>
                  <a:gd name="connsiteY7" fmla="*/ 66032 h 216069"/>
                  <a:gd name="connsiteX8" fmla="*/ 35284 w 36425"/>
                  <a:gd name="connsiteY8" fmla="*/ 216069 h 216069"/>
                  <a:gd name="connsiteX9" fmla="*/ 1236 w 36425"/>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25" h="216069">
                    <a:moveTo>
                      <a:pt x="0" y="32969"/>
                    </a:moveTo>
                    <a:lnTo>
                      <a:pt x="0" y="0"/>
                    </a:lnTo>
                    <a:lnTo>
                      <a:pt x="36426" y="0"/>
                    </a:lnTo>
                    <a:lnTo>
                      <a:pt x="36426" y="32969"/>
                    </a:lnTo>
                    <a:lnTo>
                      <a:pt x="0" y="32969"/>
                    </a:lnTo>
                    <a:close/>
                    <a:moveTo>
                      <a:pt x="1236" y="216069"/>
                    </a:moveTo>
                    <a:lnTo>
                      <a:pt x="1236" y="66032"/>
                    </a:lnTo>
                    <a:lnTo>
                      <a:pt x="35284" y="66032"/>
                    </a:lnTo>
                    <a:lnTo>
                      <a:pt x="35284" y="216069"/>
                    </a:lnTo>
                    <a:lnTo>
                      <a:pt x="1236" y="216069"/>
                    </a:lnTo>
                    <a:close/>
                  </a:path>
                </a:pathLst>
              </a:custGeom>
              <a:grpFill/>
              <a:ln w="9503" cap="flat">
                <a:noFill/>
                <a:prstDash val="solid"/>
                <a:miter/>
              </a:ln>
            </p:spPr>
            <p:txBody>
              <a:bodyPr rtlCol="0" anchor="ctr"/>
              <a:lstStyle/>
              <a:p>
                <a:endParaRPr lang="en-DK"/>
              </a:p>
            </p:txBody>
          </p:sp>
          <p:sp>
            <p:nvSpPr>
              <p:cNvPr id="24" name="Freeform 23">
                <a:extLst>
                  <a:ext uri="{FF2B5EF4-FFF2-40B4-BE49-F238E27FC236}">
                    <a16:creationId xmlns:a16="http://schemas.microsoft.com/office/drawing/2014/main" id="{731E96B7-E74F-C264-B64F-68289A6A9EF0}"/>
                  </a:ext>
                </a:extLst>
              </p:cNvPr>
              <p:cNvSpPr/>
              <p:nvPr/>
            </p:nvSpPr>
            <p:spPr>
              <a:xfrm>
                <a:off x="7884664" y="3351140"/>
                <a:ext cx="147795" cy="158419"/>
              </a:xfrm>
              <a:custGeom>
                <a:avLst/>
                <a:gdLst>
                  <a:gd name="connsiteX0" fmla="*/ 73898 w 147795"/>
                  <a:gd name="connsiteY0" fmla="*/ 158420 h 158419"/>
                  <a:gd name="connsiteX1" fmla="*/ 0 w 147795"/>
                  <a:gd name="connsiteY1" fmla="*/ 78605 h 158419"/>
                  <a:gd name="connsiteX2" fmla="*/ 73898 w 147795"/>
                  <a:gd name="connsiteY2" fmla="*/ 0 h 158419"/>
                  <a:gd name="connsiteX3" fmla="*/ 147795 w 147795"/>
                  <a:gd name="connsiteY3" fmla="*/ 78605 h 158419"/>
                  <a:gd name="connsiteX4" fmla="*/ 73898 w 147795"/>
                  <a:gd name="connsiteY4" fmla="*/ 158420 h 158419"/>
                  <a:gd name="connsiteX5" fmla="*/ 73898 w 147795"/>
                  <a:gd name="connsiteY5" fmla="*/ 26357 h 158419"/>
                  <a:gd name="connsiteX6" fmla="*/ 34714 w 147795"/>
                  <a:gd name="connsiteY6" fmla="*/ 78605 h 158419"/>
                  <a:gd name="connsiteX7" fmla="*/ 73898 w 147795"/>
                  <a:gd name="connsiteY7" fmla="*/ 132063 h 158419"/>
                  <a:gd name="connsiteX8" fmla="*/ 113081 w 147795"/>
                  <a:gd name="connsiteY8" fmla="*/ 78605 h 158419"/>
                  <a:gd name="connsiteX9" fmla="*/ 73898 w 147795"/>
                  <a:gd name="connsiteY9" fmla="*/ 26357 h 1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95" h="158419">
                    <a:moveTo>
                      <a:pt x="73898" y="158420"/>
                    </a:moveTo>
                    <a:cubicBezTo>
                      <a:pt x="26725" y="158420"/>
                      <a:pt x="0" y="124799"/>
                      <a:pt x="0" y="78605"/>
                    </a:cubicBezTo>
                    <a:cubicBezTo>
                      <a:pt x="0" y="32410"/>
                      <a:pt x="27581" y="0"/>
                      <a:pt x="73898" y="0"/>
                    </a:cubicBezTo>
                    <a:cubicBezTo>
                      <a:pt x="120214" y="0"/>
                      <a:pt x="147795" y="32410"/>
                      <a:pt x="147795" y="78605"/>
                    </a:cubicBezTo>
                    <a:cubicBezTo>
                      <a:pt x="147795" y="124799"/>
                      <a:pt x="120214" y="158420"/>
                      <a:pt x="73898" y="158420"/>
                    </a:cubicBezTo>
                    <a:close/>
                    <a:moveTo>
                      <a:pt x="73898" y="26357"/>
                    </a:moveTo>
                    <a:cubicBezTo>
                      <a:pt x="47838" y="26357"/>
                      <a:pt x="34714" y="47405"/>
                      <a:pt x="34714" y="78605"/>
                    </a:cubicBezTo>
                    <a:cubicBezTo>
                      <a:pt x="34714" y="109804"/>
                      <a:pt x="48504" y="132063"/>
                      <a:pt x="73898" y="132063"/>
                    </a:cubicBezTo>
                    <a:cubicBezTo>
                      <a:pt x="99291" y="132063"/>
                      <a:pt x="113081" y="109897"/>
                      <a:pt x="113081" y="78605"/>
                    </a:cubicBezTo>
                    <a:cubicBezTo>
                      <a:pt x="113081" y="47312"/>
                      <a:pt x="99006" y="26357"/>
                      <a:pt x="73898" y="26357"/>
                    </a:cubicBezTo>
                    <a:close/>
                  </a:path>
                </a:pathLst>
              </a:custGeom>
              <a:grpFill/>
              <a:ln w="9503" cap="flat">
                <a:noFill/>
                <a:prstDash val="solid"/>
                <a:miter/>
              </a:ln>
            </p:spPr>
            <p:txBody>
              <a:bodyPr rtlCol="0" anchor="ctr"/>
              <a:lstStyle/>
              <a:p>
                <a:endParaRPr lang="en-DK"/>
              </a:p>
            </p:txBody>
          </p:sp>
          <p:sp>
            <p:nvSpPr>
              <p:cNvPr id="25" name="Freeform 24">
                <a:extLst>
                  <a:ext uri="{FF2B5EF4-FFF2-40B4-BE49-F238E27FC236}">
                    <a16:creationId xmlns:a16="http://schemas.microsoft.com/office/drawing/2014/main" id="{CBD71552-58B7-8DFE-B304-1C32FC307BDE}"/>
                  </a:ext>
                </a:extLst>
              </p:cNvPr>
              <p:cNvSpPr/>
              <p:nvPr/>
            </p:nvSpPr>
            <p:spPr>
              <a:xfrm>
                <a:off x="8066222" y="3351140"/>
                <a:ext cx="130105" cy="154228"/>
              </a:xfrm>
              <a:custGeom>
                <a:avLst/>
                <a:gdLst>
                  <a:gd name="connsiteX0" fmla="*/ 96248 w 130105"/>
                  <a:gd name="connsiteY0" fmla="*/ 154229 h 154228"/>
                  <a:gd name="connsiteX1" fmla="*/ 96248 w 130105"/>
                  <a:gd name="connsiteY1" fmla="*/ 67242 h 154228"/>
                  <a:gd name="connsiteX2" fmla="*/ 67716 w 130105"/>
                  <a:gd name="connsiteY2" fmla="*/ 27288 h 154228"/>
                  <a:gd name="connsiteX3" fmla="*/ 35570 w 130105"/>
                  <a:gd name="connsiteY3" fmla="*/ 47684 h 154228"/>
                  <a:gd name="connsiteX4" fmla="*/ 35570 w 130105"/>
                  <a:gd name="connsiteY4" fmla="*/ 154229 h 154228"/>
                  <a:gd name="connsiteX5" fmla="*/ 1522 w 130105"/>
                  <a:gd name="connsiteY5" fmla="*/ 154229 h 154228"/>
                  <a:gd name="connsiteX6" fmla="*/ 1522 w 130105"/>
                  <a:gd name="connsiteY6" fmla="*/ 31200 h 154228"/>
                  <a:gd name="connsiteX7" fmla="*/ 0 w 130105"/>
                  <a:gd name="connsiteY7" fmla="*/ 4191 h 154228"/>
                  <a:gd name="connsiteX8" fmla="*/ 26630 w 130105"/>
                  <a:gd name="connsiteY8" fmla="*/ 4191 h 154228"/>
                  <a:gd name="connsiteX9" fmla="*/ 29958 w 130105"/>
                  <a:gd name="connsiteY9" fmla="*/ 23376 h 154228"/>
                  <a:gd name="connsiteX10" fmla="*/ 75895 w 130105"/>
                  <a:gd name="connsiteY10" fmla="*/ 0 h 154228"/>
                  <a:gd name="connsiteX11" fmla="*/ 130105 w 130105"/>
                  <a:gd name="connsiteY11" fmla="*/ 69291 h 154228"/>
                  <a:gd name="connsiteX12" fmla="*/ 130105 w 130105"/>
                  <a:gd name="connsiteY12" fmla="*/ 154229 h 154228"/>
                  <a:gd name="connsiteX13" fmla="*/ 96057 w 130105"/>
                  <a:gd name="connsiteY13" fmla="*/ 154229 h 15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105" h="154228">
                    <a:moveTo>
                      <a:pt x="96248" y="154229"/>
                    </a:moveTo>
                    <a:lnTo>
                      <a:pt x="96248" y="67242"/>
                    </a:lnTo>
                    <a:cubicBezTo>
                      <a:pt x="96248" y="42934"/>
                      <a:pt x="91017" y="27288"/>
                      <a:pt x="67716" y="27288"/>
                    </a:cubicBezTo>
                    <a:cubicBezTo>
                      <a:pt x="53925" y="27288"/>
                      <a:pt x="43178" y="37533"/>
                      <a:pt x="35570" y="47684"/>
                    </a:cubicBezTo>
                    <a:lnTo>
                      <a:pt x="35570" y="154229"/>
                    </a:lnTo>
                    <a:lnTo>
                      <a:pt x="1522" y="154229"/>
                    </a:lnTo>
                    <a:lnTo>
                      <a:pt x="1522" y="31200"/>
                    </a:lnTo>
                    <a:cubicBezTo>
                      <a:pt x="1522" y="26077"/>
                      <a:pt x="285" y="9313"/>
                      <a:pt x="0" y="4191"/>
                    </a:cubicBezTo>
                    <a:lnTo>
                      <a:pt x="26630" y="4191"/>
                    </a:lnTo>
                    <a:lnTo>
                      <a:pt x="29958" y="23376"/>
                    </a:lnTo>
                    <a:cubicBezTo>
                      <a:pt x="39184" y="10803"/>
                      <a:pt x="54781" y="0"/>
                      <a:pt x="75895" y="0"/>
                    </a:cubicBezTo>
                    <a:cubicBezTo>
                      <a:pt x="115459" y="0"/>
                      <a:pt x="130105" y="21048"/>
                      <a:pt x="130105" y="69291"/>
                    </a:cubicBezTo>
                    <a:lnTo>
                      <a:pt x="130105" y="154229"/>
                    </a:lnTo>
                    <a:lnTo>
                      <a:pt x="96057" y="154229"/>
                    </a:lnTo>
                    <a:close/>
                  </a:path>
                </a:pathLst>
              </a:custGeom>
              <a:grpFill/>
              <a:ln w="9503" cap="flat">
                <a:noFill/>
                <a:prstDash val="solid"/>
                <a:miter/>
              </a:ln>
            </p:spPr>
            <p:txBody>
              <a:bodyPr rtlCol="0" anchor="ctr"/>
              <a:lstStyle/>
              <a:p>
                <a:endParaRPr lang="en-DK"/>
              </a:p>
            </p:txBody>
          </p:sp>
        </p:grpSp>
      </p:grpSp>
      <p:pic>
        <p:nvPicPr>
          <p:cNvPr id="4" name="Picture 3">
            <a:extLst>
              <a:ext uri="{FF2B5EF4-FFF2-40B4-BE49-F238E27FC236}">
                <a16:creationId xmlns:a16="http://schemas.microsoft.com/office/drawing/2014/main" id="{B8C0B796-FAF2-5FEA-BEB1-A3004967892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63379" y="247853"/>
            <a:ext cx="1513752" cy="662778"/>
          </a:xfrm>
          <a:prstGeom prst="rect">
            <a:avLst/>
          </a:prstGeom>
        </p:spPr>
      </p:pic>
      <p:pic>
        <p:nvPicPr>
          <p:cNvPr id="68" name="Picture 67" descr="A black and white logo&#10;&#10;AI-generated content may be incorrect.">
            <a:extLst>
              <a:ext uri="{FF2B5EF4-FFF2-40B4-BE49-F238E27FC236}">
                <a16:creationId xmlns:a16="http://schemas.microsoft.com/office/drawing/2014/main" id="{84551315-DEBB-AB2C-C52B-405E271D6207}"/>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321015" y="1501341"/>
            <a:ext cx="1306800" cy="480722"/>
          </a:xfrm>
          <a:prstGeom prst="rect">
            <a:avLst/>
          </a:prstGeom>
        </p:spPr>
      </p:pic>
    </p:spTree>
    <p:extLst>
      <p:ext uri="{BB962C8B-B14F-4D97-AF65-F5344CB8AC3E}">
        <p14:creationId xmlns:p14="http://schemas.microsoft.com/office/powerpoint/2010/main" val="2514024089"/>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Blue_DIVIDER_Blank_Jan_2025">
    <p:spTree>
      <p:nvGrpSpPr>
        <p:cNvPr id="1" name=""/>
        <p:cNvGrpSpPr/>
        <p:nvPr/>
      </p:nvGrpSpPr>
      <p:grpSpPr>
        <a:xfrm>
          <a:off x="0" y="0"/>
          <a:ext cx="0" cy="0"/>
          <a:chOff x="0" y="0"/>
          <a:chExt cx="0" cy="0"/>
        </a:xfrm>
      </p:grpSpPr>
      <p:sp>
        <p:nvSpPr>
          <p:cNvPr id="48" name="Picture Placeholder 47">
            <a:extLst>
              <a:ext uri="{FF2B5EF4-FFF2-40B4-BE49-F238E27FC236}">
                <a16:creationId xmlns:a16="http://schemas.microsoft.com/office/drawing/2014/main" id="{A0999248-014E-E330-C744-67B67419C1D7}"/>
              </a:ext>
            </a:extLst>
          </p:cNvPr>
          <p:cNvSpPr>
            <a:spLocks noGrp="1"/>
          </p:cNvSpPr>
          <p:nvPr>
            <p:ph type="pic" sz="quarter" idx="13"/>
          </p:nvPr>
        </p:nvSpPr>
        <p:spPr>
          <a:xfrm>
            <a:off x="8112125" y="-1"/>
            <a:ext cx="4079875" cy="6857999"/>
          </a:xfrm>
          <a:noFill/>
        </p:spPr>
        <p:txBody>
          <a:bodyPr>
            <a:normAutofit/>
          </a:bodyPr>
          <a:lstStyle>
            <a:lvl1pPr>
              <a:defRPr sz="1100"/>
            </a:lvl1pPr>
          </a:lstStyle>
          <a:p>
            <a:endParaRPr lang="en-DK"/>
          </a:p>
        </p:txBody>
      </p:sp>
      <p:sp>
        <p:nvSpPr>
          <p:cNvPr id="2" name="Title 1">
            <a:extLst>
              <a:ext uri="{FF2B5EF4-FFF2-40B4-BE49-F238E27FC236}">
                <a16:creationId xmlns:a16="http://schemas.microsoft.com/office/drawing/2014/main" id="{C0641DD1-7679-677C-E5F7-106CA2181E11}"/>
              </a:ext>
            </a:extLst>
          </p:cNvPr>
          <p:cNvSpPr>
            <a:spLocks noGrp="1"/>
          </p:cNvSpPr>
          <p:nvPr>
            <p:ph type="ctrTitle"/>
          </p:nvPr>
        </p:nvSpPr>
        <p:spPr>
          <a:xfrm>
            <a:off x="442913" y="2734866"/>
            <a:ext cx="7237411" cy="1846659"/>
          </a:xfrm>
        </p:spPr>
        <p:txBody>
          <a:bodyPr anchor="b">
            <a:noAutofit/>
          </a:bodyPr>
          <a:lstStyle>
            <a:lvl1pPr algn="l">
              <a:defRPr sz="4000" b="1">
                <a:solidFill>
                  <a:schemeClr val="bg1"/>
                </a:solidFill>
              </a:defRPr>
            </a:lvl1pPr>
          </a:lstStyle>
          <a:p>
            <a:r>
              <a:rPr lang="en-GB"/>
              <a:t>Click to edit Master title style</a:t>
            </a:r>
            <a:endParaRPr lang="en-DK"/>
          </a:p>
        </p:txBody>
      </p:sp>
    </p:spTree>
    <p:extLst>
      <p:ext uri="{BB962C8B-B14F-4D97-AF65-F5344CB8AC3E}">
        <p14:creationId xmlns:p14="http://schemas.microsoft.com/office/powerpoint/2010/main" val="18587615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NO LOGO_Title, Column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2" y="1267199"/>
            <a:ext cx="11306175"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Slide Number Placeholder 4">
            <a:extLst>
              <a:ext uri="{FF2B5EF4-FFF2-40B4-BE49-F238E27FC236}">
                <a16:creationId xmlns:a16="http://schemas.microsoft.com/office/drawing/2014/main" id="{4E32F52B-528A-1618-A009-FF8E934ED69A}"/>
              </a:ext>
            </a:extLst>
          </p:cNvPr>
          <p:cNvSpPr>
            <a:spLocks noGrp="1"/>
          </p:cNvSpPr>
          <p:nvPr>
            <p:ph type="sldNum" sz="quarter" idx="11"/>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C12170DB-836F-432F-643B-1966AD66CCCF}"/>
              </a:ext>
            </a:extLst>
          </p:cNvPr>
          <p:cNvSpPr>
            <a:spLocks noGrp="1"/>
          </p:cNvSpPr>
          <p:nvPr>
            <p:ph type="ftr" sz="quarter" idx="12"/>
          </p:nvPr>
        </p:nvSpPr>
        <p:spPr/>
        <p:txBody>
          <a:bodyPr/>
          <a:lstStyle/>
          <a:p>
            <a:endParaRPr lang="en-IE"/>
          </a:p>
        </p:txBody>
      </p:sp>
    </p:spTree>
    <p:extLst>
      <p:ext uri="{BB962C8B-B14F-4D97-AF65-F5344CB8AC3E}">
        <p14:creationId xmlns:p14="http://schemas.microsoft.com/office/powerpoint/2010/main" val="381031914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NO LOGO_Column, Image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2" y="1267199"/>
            <a:ext cx="5221287" cy="4287600"/>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10" name="Picture Placeholder 8">
            <a:extLst>
              <a:ext uri="{FF2B5EF4-FFF2-40B4-BE49-F238E27FC236}">
                <a16:creationId xmlns:a16="http://schemas.microsoft.com/office/drawing/2014/main" id="{7F2681EC-1F9A-713B-DA10-49F6F15367A6}"/>
              </a:ext>
            </a:extLst>
          </p:cNvPr>
          <p:cNvSpPr>
            <a:spLocks noGrp="1"/>
          </p:cNvSpPr>
          <p:nvPr>
            <p:ph type="pic" sz="quarter" idx="10"/>
          </p:nvPr>
        </p:nvSpPr>
        <p:spPr>
          <a:xfrm>
            <a:off x="6527800" y="1268412"/>
            <a:ext cx="5221288" cy="4287600"/>
          </a:xfrm>
        </p:spPr>
        <p:txBody>
          <a:bodyPr>
            <a:noAutofit/>
          </a:bodyPr>
          <a:lstStyle>
            <a:lvl1pPr>
              <a:defRPr>
                <a:solidFill>
                  <a:schemeClr val="tx1"/>
                </a:solidFill>
              </a:defRPr>
            </a:lvl1pPr>
          </a:lstStyle>
          <a:p>
            <a:endParaRPr lang="en-DK"/>
          </a:p>
        </p:txBody>
      </p:sp>
      <p:sp>
        <p:nvSpPr>
          <p:cNvPr id="5" name="Slide Number Placeholder 4">
            <a:extLst>
              <a:ext uri="{FF2B5EF4-FFF2-40B4-BE49-F238E27FC236}">
                <a16:creationId xmlns:a16="http://schemas.microsoft.com/office/drawing/2014/main" id="{42CD24C7-F290-7A81-F93B-9F66C74B77F4}"/>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F830CCB1-F67D-6C85-857B-CEECF91841FD}"/>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4102802563"/>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NO LOGO_Two Column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3" y="1268412"/>
            <a:ext cx="5221288"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Content Placeholder 2">
            <a:extLst>
              <a:ext uri="{FF2B5EF4-FFF2-40B4-BE49-F238E27FC236}">
                <a16:creationId xmlns:a16="http://schemas.microsoft.com/office/drawing/2014/main" id="{11C4CE89-9402-1BF0-A9EE-FE765B4AA7BE}"/>
              </a:ext>
            </a:extLst>
          </p:cNvPr>
          <p:cNvSpPr>
            <a:spLocks noGrp="1"/>
          </p:cNvSpPr>
          <p:nvPr>
            <p:ph idx="10"/>
          </p:nvPr>
        </p:nvSpPr>
        <p:spPr>
          <a:xfrm>
            <a:off x="6527800" y="1268412"/>
            <a:ext cx="5221287"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Slide Number Placeholder 4">
            <a:extLst>
              <a:ext uri="{FF2B5EF4-FFF2-40B4-BE49-F238E27FC236}">
                <a16:creationId xmlns:a16="http://schemas.microsoft.com/office/drawing/2014/main" id="{460674A2-46FA-B5B1-882B-73E797F4D92A}"/>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EDC92640-B85A-D483-21BE-D65D1364EF84}"/>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2781890424"/>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NO LOGO_Grey Boxe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3" y="1268413"/>
            <a:ext cx="5221288" cy="4287600"/>
          </a:xfrm>
          <a:solidFill>
            <a:schemeClr val="bg1">
              <a:lumMod val="95000"/>
            </a:schemeClr>
          </a:solidFill>
        </p:spPr>
        <p:txBody>
          <a:bodyPr wrap="square" lIns="288000" tIns="288000" rIns="288000" bIns="288000">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Content Placeholder 2">
            <a:extLst>
              <a:ext uri="{FF2B5EF4-FFF2-40B4-BE49-F238E27FC236}">
                <a16:creationId xmlns:a16="http://schemas.microsoft.com/office/drawing/2014/main" id="{11C4CE89-9402-1BF0-A9EE-FE765B4AA7BE}"/>
              </a:ext>
            </a:extLst>
          </p:cNvPr>
          <p:cNvSpPr>
            <a:spLocks noGrp="1"/>
          </p:cNvSpPr>
          <p:nvPr>
            <p:ph idx="10"/>
          </p:nvPr>
        </p:nvSpPr>
        <p:spPr>
          <a:xfrm>
            <a:off x="6527799" y="1268413"/>
            <a:ext cx="5221288" cy="4287600"/>
          </a:xfrm>
          <a:solidFill>
            <a:schemeClr val="bg1">
              <a:lumMod val="95000"/>
            </a:schemeClr>
          </a:solidFill>
        </p:spPr>
        <p:txBody>
          <a:bodyPr wrap="square" lIns="288000" tIns="288000" rIns="288000" bIns="288000">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Slide Number Placeholder 4">
            <a:extLst>
              <a:ext uri="{FF2B5EF4-FFF2-40B4-BE49-F238E27FC236}">
                <a16:creationId xmlns:a16="http://schemas.microsoft.com/office/drawing/2014/main" id="{73B646E0-13FF-08D7-72C8-7DE5F76D7820}"/>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9606CE13-B1F7-60A1-ABA5-A3BB58FA8F81}"/>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762349744"/>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NO LOGO_Image, Title, Column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7251C0A4-2136-AFF6-1DA3-FA9D563B630D}"/>
              </a:ext>
            </a:extLst>
          </p:cNvPr>
          <p:cNvSpPr>
            <a:spLocks noGrp="1"/>
          </p:cNvSpPr>
          <p:nvPr>
            <p:ph type="pic" sz="quarter" idx="13"/>
          </p:nvPr>
        </p:nvSpPr>
        <p:spPr>
          <a:xfrm>
            <a:off x="1" y="0"/>
            <a:ext cx="4079874" cy="6750000"/>
          </a:xfrm>
        </p:spPr>
        <p:txBody>
          <a:bodyPr/>
          <a:lstStyle>
            <a:lvl1pPr>
              <a:defRPr>
                <a:solidFill>
                  <a:schemeClr val="tx1"/>
                </a:solidFill>
              </a:defRPr>
            </a:lvl1pPr>
          </a:lstStyle>
          <a:p>
            <a:endParaRPr lang="en-DK"/>
          </a:p>
        </p:txBody>
      </p:sp>
      <p:sp>
        <p:nvSpPr>
          <p:cNvPr id="2" name="Title 1">
            <a:extLst>
              <a:ext uri="{FF2B5EF4-FFF2-40B4-BE49-F238E27FC236}">
                <a16:creationId xmlns:a16="http://schemas.microsoft.com/office/drawing/2014/main" id="{7EDD364F-3FE9-18C1-56D4-52A88C82DF6C}"/>
              </a:ext>
            </a:extLst>
          </p:cNvPr>
          <p:cNvSpPr>
            <a:spLocks noGrp="1"/>
          </p:cNvSpPr>
          <p:nvPr>
            <p:ph type="title"/>
          </p:nvPr>
        </p:nvSpPr>
        <p:spPr>
          <a:xfrm>
            <a:off x="4507578" y="0"/>
            <a:ext cx="7241510" cy="908050"/>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4507578" y="1268412"/>
            <a:ext cx="7241510"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7" name="Graphic 6">
            <a:extLst>
              <a:ext uri="{FF2B5EF4-FFF2-40B4-BE49-F238E27FC236}">
                <a16:creationId xmlns:a16="http://schemas.microsoft.com/office/drawing/2014/main" id="{0C8A6E7C-8855-4C53-2D92-668CEF4B287F}"/>
              </a:ext>
            </a:extLst>
          </p:cNvPr>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07578" y="1053025"/>
            <a:ext cx="540000" cy="36000"/>
          </a:xfrm>
          <a:prstGeom prst="rect">
            <a:avLst/>
          </a:prstGeom>
        </p:spPr>
      </p:pic>
    </p:spTree>
    <p:extLst>
      <p:ext uri="{BB962C8B-B14F-4D97-AF65-F5344CB8AC3E}">
        <p14:creationId xmlns:p14="http://schemas.microsoft.com/office/powerpoint/2010/main" val="418953348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NO LOGO_Image, Icons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2B9633CD-83DE-EB13-1267-26B36D4C1E12}"/>
              </a:ext>
            </a:extLst>
          </p:cNvPr>
          <p:cNvSpPr>
            <a:spLocks noGrp="1"/>
          </p:cNvSpPr>
          <p:nvPr>
            <p:ph type="pic" sz="quarter" idx="13"/>
          </p:nvPr>
        </p:nvSpPr>
        <p:spPr>
          <a:xfrm>
            <a:off x="0" y="0"/>
            <a:ext cx="4079875" cy="6750000"/>
          </a:xfrm>
        </p:spPr>
        <p:txBody>
          <a:bodyPr/>
          <a:lstStyle>
            <a:lvl1pPr>
              <a:defRPr>
                <a:solidFill>
                  <a:schemeClr val="tx1"/>
                </a:solidFill>
              </a:defRPr>
            </a:lvl1pPr>
          </a:lstStyle>
          <a:p>
            <a:endParaRPr lang="en-DK"/>
          </a:p>
        </p:txBody>
      </p:sp>
      <p:sp>
        <p:nvSpPr>
          <p:cNvPr id="2" name="Title 1">
            <a:extLst>
              <a:ext uri="{FF2B5EF4-FFF2-40B4-BE49-F238E27FC236}">
                <a16:creationId xmlns:a16="http://schemas.microsoft.com/office/drawing/2014/main" id="{7EDD364F-3FE9-18C1-56D4-52A88C82DF6C}"/>
              </a:ext>
            </a:extLst>
          </p:cNvPr>
          <p:cNvSpPr>
            <a:spLocks noGrp="1"/>
          </p:cNvSpPr>
          <p:nvPr>
            <p:ph type="title"/>
          </p:nvPr>
        </p:nvSpPr>
        <p:spPr>
          <a:xfrm>
            <a:off x="4507578" y="0"/>
            <a:ext cx="7241510" cy="908050"/>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5648200" y="2009238"/>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7" name="Content Placeholder 2">
            <a:extLst>
              <a:ext uri="{FF2B5EF4-FFF2-40B4-BE49-F238E27FC236}">
                <a16:creationId xmlns:a16="http://schemas.microsoft.com/office/drawing/2014/main" id="{16A327B8-AFBD-F1DF-7DFC-FB03E0CBC483}"/>
              </a:ext>
            </a:extLst>
          </p:cNvPr>
          <p:cNvSpPr>
            <a:spLocks noGrp="1"/>
          </p:cNvSpPr>
          <p:nvPr>
            <p:ph idx="19"/>
          </p:nvPr>
        </p:nvSpPr>
        <p:spPr>
          <a:xfrm>
            <a:off x="5648200" y="3151603"/>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
        <p:nvSpPr>
          <p:cNvPr id="58" name="Content Placeholder 2">
            <a:extLst>
              <a:ext uri="{FF2B5EF4-FFF2-40B4-BE49-F238E27FC236}">
                <a16:creationId xmlns:a16="http://schemas.microsoft.com/office/drawing/2014/main" id="{84920924-4D7D-AFA8-DA00-3C53D28D9263}"/>
              </a:ext>
            </a:extLst>
          </p:cNvPr>
          <p:cNvSpPr>
            <a:spLocks noGrp="1"/>
          </p:cNvSpPr>
          <p:nvPr>
            <p:ph idx="20"/>
          </p:nvPr>
        </p:nvSpPr>
        <p:spPr>
          <a:xfrm>
            <a:off x="5648200" y="4293968"/>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
        <p:nvSpPr>
          <p:cNvPr id="59" name="Content Placeholder 2">
            <a:extLst>
              <a:ext uri="{FF2B5EF4-FFF2-40B4-BE49-F238E27FC236}">
                <a16:creationId xmlns:a16="http://schemas.microsoft.com/office/drawing/2014/main" id="{2C6CA0A4-7A3E-BB08-2AD3-FE4BAE03FE66}"/>
              </a:ext>
            </a:extLst>
          </p:cNvPr>
          <p:cNvSpPr>
            <a:spLocks noGrp="1"/>
          </p:cNvSpPr>
          <p:nvPr>
            <p:ph idx="21"/>
          </p:nvPr>
        </p:nvSpPr>
        <p:spPr>
          <a:xfrm>
            <a:off x="5648200" y="5436334"/>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pic>
        <p:nvPicPr>
          <p:cNvPr id="7" name="Graphic 6">
            <a:extLst>
              <a:ext uri="{FF2B5EF4-FFF2-40B4-BE49-F238E27FC236}">
                <a16:creationId xmlns:a16="http://schemas.microsoft.com/office/drawing/2014/main" id="{D1127C92-8F21-5515-90BE-8217CFA1FC95}"/>
              </a:ext>
            </a:extLst>
          </p:cNvPr>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07578" y="1053025"/>
            <a:ext cx="540000" cy="36000"/>
          </a:xfrm>
          <a:prstGeom prst="rect">
            <a:avLst/>
          </a:prstGeom>
        </p:spPr>
      </p:pic>
    </p:spTree>
    <p:extLst>
      <p:ext uri="{BB962C8B-B14F-4D97-AF65-F5344CB8AC3E}">
        <p14:creationId xmlns:p14="http://schemas.microsoft.com/office/powerpoint/2010/main" val="4231316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a:prstGeom prst="rect">
            <a:avLst/>
          </a:prstGeo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51618082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NO LOGO_Image, Title, Column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7251C0A4-2136-AFF6-1DA3-FA9D563B630D}"/>
              </a:ext>
            </a:extLst>
          </p:cNvPr>
          <p:cNvSpPr>
            <a:spLocks noGrp="1"/>
          </p:cNvSpPr>
          <p:nvPr>
            <p:ph type="pic" sz="quarter" idx="13"/>
          </p:nvPr>
        </p:nvSpPr>
        <p:spPr>
          <a:xfrm>
            <a:off x="1" y="0"/>
            <a:ext cx="4079874" cy="6750000"/>
          </a:xfrm>
        </p:spPr>
        <p:txBody>
          <a:bodyPr/>
          <a:lstStyle>
            <a:lvl1pPr>
              <a:defRPr>
                <a:solidFill>
                  <a:schemeClr val="tx1"/>
                </a:solidFill>
              </a:defRPr>
            </a:lvl1pPr>
          </a:lstStyle>
          <a:p>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4507578" y="1268412"/>
            <a:ext cx="7241510" cy="4287600"/>
          </a:xfrm>
        </p:spPr>
        <p:txBody>
          <a:bodyPr wrap="square" anchor="ct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6" name="Title 1">
            <a:extLst>
              <a:ext uri="{FF2B5EF4-FFF2-40B4-BE49-F238E27FC236}">
                <a16:creationId xmlns:a16="http://schemas.microsoft.com/office/drawing/2014/main" id="{51AC05DC-3861-112E-B8A8-483D44CE75D6}"/>
              </a:ext>
            </a:extLst>
          </p:cNvPr>
          <p:cNvSpPr>
            <a:spLocks noGrp="1"/>
          </p:cNvSpPr>
          <p:nvPr>
            <p:ph type="title"/>
          </p:nvPr>
        </p:nvSpPr>
        <p:spPr>
          <a:xfrm>
            <a:off x="442913" y="1288252"/>
            <a:ext cx="3205162" cy="4287600"/>
          </a:xfrm>
        </p:spPr>
        <p:txBody>
          <a:bodyPr lIns="0" tIns="0" rIns="0" bIns="0" anchor="ctr" anchorCtr="0">
            <a:noAutofit/>
          </a:bodyPr>
          <a:lstStyle>
            <a:lvl1pPr algn="l">
              <a:defRPr sz="2800" b="1">
                <a:solidFill>
                  <a:schemeClr val="bg2"/>
                </a:solidFill>
              </a:defRPr>
            </a:lvl1pPr>
          </a:lstStyle>
          <a:p>
            <a:r>
              <a:rPr lang="en-GB"/>
              <a:t>Click to edit Master title style</a:t>
            </a:r>
            <a:endParaRPr lang="en-DK"/>
          </a:p>
        </p:txBody>
      </p:sp>
    </p:spTree>
    <p:extLst>
      <p:ext uri="{BB962C8B-B14F-4D97-AF65-F5344CB8AC3E}">
        <p14:creationId xmlns:p14="http://schemas.microsoft.com/office/powerpoint/2010/main" val="13307433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_NO LOGO_White Quote_Jan_202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9083EB-CEDD-F32E-F6C1-5DAEDFF67D96}"/>
              </a:ext>
            </a:extLst>
          </p:cNvPr>
          <p:cNvSpPr>
            <a:spLocks noGrp="1"/>
          </p:cNvSpPr>
          <p:nvPr>
            <p:ph type="sldNum" sz="quarter" idx="10"/>
          </p:nvPr>
        </p:nvSpPr>
        <p:spPr/>
        <p:txBody>
          <a:bodyPr/>
          <a:lstStyle/>
          <a:p>
            <a:fld id="{64D2DCB6-719E-0F43-A160-E508323EF71D}" type="slidenum">
              <a:rPr lang="en-DK" smtClean="0"/>
              <a:pPr/>
              <a:t>‹#›</a:t>
            </a:fld>
            <a:endParaRPr lang="en-DK"/>
          </a:p>
        </p:txBody>
      </p:sp>
      <p:sp>
        <p:nvSpPr>
          <p:cNvPr id="5" name="Content Placeholder 2">
            <a:extLst>
              <a:ext uri="{FF2B5EF4-FFF2-40B4-BE49-F238E27FC236}">
                <a16:creationId xmlns:a16="http://schemas.microsoft.com/office/drawing/2014/main" id="{11C4CD81-D1DB-3C82-9FD7-819068B4CD1F}"/>
              </a:ext>
            </a:extLst>
          </p:cNvPr>
          <p:cNvSpPr>
            <a:spLocks noGrp="1"/>
          </p:cNvSpPr>
          <p:nvPr>
            <p:ph idx="1"/>
          </p:nvPr>
        </p:nvSpPr>
        <p:spPr>
          <a:xfrm>
            <a:off x="2027238" y="1268413"/>
            <a:ext cx="8137525" cy="3509883"/>
          </a:xfrm>
        </p:spPr>
        <p:txBody>
          <a:bodyPr>
            <a:noAutofit/>
          </a:bodyPr>
          <a:lstStyle>
            <a:lvl1pPr marL="0" indent="0">
              <a:buNone/>
              <a:defRPr sz="3800" b="1">
                <a:solidFill>
                  <a:schemeClr val="accent1"/>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6" name="Content Placeholder 2">
            <a:extLst>
              <a:ext uri="{FF2B5EF4-FFF2-40B4-BE49-F238E27FC236}">
                <a16:creationId xmlns:a16="http://schemas.microsoft.com/office/drawing/2014/main" id="{F7403F96-6AE2-C24D-90F1-EBD8E7417DF3}"/>
              </a:ext>
            </a:extLst>
          </p:cNvPr>
          <p:cNvSpPr>
            <a:spLocks noGrp="1"/>
          </p:cNvSpPr>
          <p:nvPr>
            <p:ph idx="12"/>
          </p:nvPr>
        </p:nvSpPr>
        <p:spPr>
          <a:xfrm>
            <a:off x="2027238" y="4877634"/>
            <a:ext cx="8137525" cy="1440000"/>
          </a:xfrm>
        </p:spPr>
        <p:txBody>
          <a:bodyPr>
            <a:noAutofit/>
          </a:bodyPr>
          <a:lstStyle>
            <a:lvl1pPr marL="0" indent="0">
              <a:spcAft>
                <a:spcPts val="600"/>
              </a:spcAft>
              <a:buNone/>
              <a:defRPr sz="1600" b="1">
                <a:solidFill>
                  <a:schemeClr val="accent1"/>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7" name="TextBox 6">
            <a:extLst>
              <a:ext uri="{FF2B5EF4-FFF2-40B4-BE49-F238E27FC236}">
                <a16:creationId xmlns:a16="http://schemas.microsoft.com/office/drawing/2014/main" id="{45BA4D03-0AC3-7938-7289-835E125991FC}"/>
              </a:ext>
            </a:extLst>
          </p:cNvPr>
          <p:cNvSpPr txBox="1"/>
          <p:nvPr userDrawn="1"/>
        </p:nvSpPr>
        <p:spPr>
          <a:xfrm>
            <a:off x="728279" y="766733"/>
            <a:ext cx="1991075" cy="2662267"/>
          </a:xfrm>
          <a:prstGeom prst="rect">
            <a:avLst/>
          </a:prstGeom>
          <a:noFill/>
        </p:spPr>
        <p:txBody>
          <a:bodyPr wrap="square" rtlCol="0">
            <a:spAutoFit/>
          </a:bodyPr>
          <a:lstStyle/>
          <a:p>
            <a:r>
              <a:rPr lang="en-DK" sz="16700" b="1">
                <a:solidFill>
                  <a:schemeClr val="accent1"/>
                </a:solidFill>
              </a:rPr>
              <a:t>“</a:t>
            </a:r>
          </a:p>
        </p:txBody>
      </p:sp>
      <p:pic>
        <p:nvPicPr>
          <p:cNvPr id="2" name="Picture 1">
            <a:extLst>
              <a:ext uri="{FF2B5EF4-FFF2-40B4-BE49-F238E27FC236}">
                <a16:creationId xmlns:a16="http://schemas.microsoft.com/office/drawing/2014/main" id="{B3D54B53-9EC4-03BB-696A-6EE4B29C436D}"/>
              </a:ext>
            </a:extLst>
          </p:cNvPr>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8" name="Footer Placeholder 7">
            <a:extLst>
              <a:ext uri="{FF2B5EF4-FFF2-40B4-BE49-F238E27FC236}">
                <a16:creationId xmlns:a16="http://schemas.microsoft.com/office/drawing/2014/main" id="{07FA6677-A56A-E098-CB4F-7063B28F8070}"/>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7861507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NO LOGO_White List_Jan_2025">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221E3E-4765-3F60-E686-7B9F3CB3C1EA}"/>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4" name="Text Placeholder 19">
            <a:extLst>
              <a:ext uri="{FF2B5EF4-FFF2-40B4-BE49-F238E27FC236}">
                <a16:creationId xmlns:a16="http://schemas.microsoft.com/office/drawing/2014/main" id="{55633E9F-1E8D-2F0F-0F8F-3711767028EA}"/>
              </a:ext>
            </a:extLst>
          </p:cNvPr>
          <p:cNvSpPr>
            <a:spLocks noGrp="1" noRot="1" noMove="1" noResize="1" noEditPoints="1" noAdjustHandles="1" noChangeArrowheads="1" noChangeShapeType="1"/>
          </p:cNvSpPr>
          <p:nvPr>
            <p:ph type="body" sz="quarter" idx="10"/>
          </p:nvPr>
        </p:nvSpPr>
        <p:spPr>
          <a:xfrm>
            <a:off x="2027238" y="703873"/>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5" name="Text Placeholder 19">
            <a:extLst>
              <a:ext uri="{FF2B5EF4-FFF2-40B4-BE49-F238E27FC236}">
                <a16:creationId xmlns:a16="http://schemas.microsoft.com/office/drawing/2014/main" id="{97254926-FAC0-39B5-22A1-F04DE7EA76A4}"/>
              </a:ext>
            </a:extLst>
          </p:cNvPr>
          <p:cNvSpPr>
            <a:spLocks noGrp="1" noRot="1" noMove="1" noResize="1" noEditPoints="1" noAdjustHandles="1" noChangeArrowheads="1" noChangeShapeType="1"/>
          </p:cNvSpPr>
          <p:nvPr>
            <p:ph type="body" sz="quarter" idx="11"/>
          </p:nvPr>
        </p:nvSpPr>
        <p:spPr>
          <a:xfrm>
            <a:off x="2027238" y="1771840"/>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6" name="Text Placeholder 19">
            <a:extLst>
              <a:ext uri="{FF2B5EF4-FFF2-40B4-BE49-F238E27FC236}">
                <a16:creationId xmlns:a16="http://schemas.microsoft.com/office/drawing/2014/main" id="{09E37B7D-166F-B03C-A5D9-6B95F86A3A02}"/>
              </a:ext>
            </a:extLst>
          </p:cNvPr>
          <p:cNvSpPr>
            <a:spLocks noGrp="1" noRot="1" noMove="1" noResize="1" noEditPoints="1" noAdjustHandles="1" noChangeArrowheads="1" noChangeShapeType="1"/>
          </p:cNvSpPr>
          <p:nvPr>
            <p:ph type="body" sz="quarter" idx="12"/>
          </p:nvPr>
        </p:nvSpPr>
        <p:spPr>
          <a:xfrm>
            <a:off x="2027238" y="2839807"/>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7" name="Text Placeholder 19">
            <a:extLst>
              <a:ext uri="{FF2B5EF4-FFF2-40B4-BE49-F238E27FC236}">
                <a16:creationId xmlns:a16="http://schemas.microsoft.com/office/drawing/2014/main" id="{4B9CBE0B-5E84-10EC-F459-3BB91D3C32B9}"/>
              </a:ext>
            </a:extLst>
          </p:cNvPr>
          <p:cNvSpPr>
            <a:spLocks noGrp="1" noRot="1" noMove="1" noResize="1" noEditPoints="1" noAdjustHandles="1" noChangeArrowheads="1" noChangeShapeType="1"/>
          </p:cNvSpPr>
          <p:nvPr>
            <p:ph type="body" sz="quarter" idx="13"/>
          </p:nvPr>
        </p:nvSpPr>
        <p:spPr>
          <a:xfrm>
            <a:off x="2027238" y="3907774"/>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8" name="Text Placeholder 19">
            <a:extLst>
              <a:ext uri="{FF2B5EF4-FFF2-40B4-BE49-F238E27FC236}">
                <a16:creationId xmlns:a16="http://schemas.microsoft.com/office/drawing/2014/main" id="{0CF6DD01-6002-142D-1ECD-677CBF2CA735}"/>
              </a:ext>
            </a:extLst>
          </p:cNvPr>
          <p:cNvSpPr>
            <a:spLocks noGrp="1" noRot="1" noMove="1" noResize="1" noEditPoints="1" noAdjustHandles="1" noChangeArrowheads="1" noChangeShapeType="1"/>
          </p:cNvSpPr>
          <p:nvPr>
            <p:ph type="body" sz="quarter" idx="14"/>
          </p:nvPr>
        </p:nvSpPr>
        <p:spPr>
          <a:xfrm>
            <a:off x="2027238" y="4975741"/>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9" name="Slide Number Placeholder 8">
            <a:extLst>
              <a:ext uri="{FF2B5EF4-FFF2-40B4-BE49-F238E27FC236}">
                <a16:creationId xmlns:a16="http://schemas.microsoft.com/office/drawing/2014/main" id="{771C9543-1F65-4044-2314-A79FC2F52D44}"/>
              </a:ext>
            </a:extLst>
          </p:cNvPr>
          <p:cNvSpPr>
            <a:spLocks noGrp="1"/>
          </p:cNvSpPr>
          <p:nvPr>
            <p:ph type="sldNum" sz="quarter" idx="16"/>
          </p:nvPr>
        </p:nvSpPr>
        <p:spPr/>
        <p:txBody>
          <a:bodyPr/>
          <a:lstStyle/>
          <a:p>
            <a:fld id="{64D2DCB6-719E-0F43-A160-E508323EF71D}" type="slidenum">
              <a:rPr lang="en-DK" smtClean="0"/>
              <a:pPr/>
              <a:t>‹#›</a:t>
            </a:fld>
            <a:endParaRPr lang="en-DK"/>
          </a:p>
        </p:txBody>
      </p:sp>
      <p:sp>
        <p:nvSpPr>
          <p:cNvPr id="11" name="Footer Placeholder 10">
            <a:extLst>
              <a:ext uri="{FF2B5EF4-FFF2-40B4-BE49-F238E27FC236}">
                <a16:creationId xmlns:a16="http://schemas.microsoft.com/office/drawing/2014/main" id="{8C1D264C-886C-597C-2014-5ABE7AF5D219}"/>
              </a:ext>
            </a:extLst>
          </p:cNvPr>
          <p:cNvSpPr>
            <a:spLocks noGrp="1"/>
          </p:cNvSpPr>
          <p:nvPr>
            <p:ph type="ftr" sz="quarter" idx="17"/>
          </p:nvPr>
        </p:nvSpPr>
        <p:spPr/>
        <p:txBody>
          <a:bodyPr/>
          <a:lstStyle/>
          <a:p>
            <a:endParaRPr lang="en-IE"/>
          </a:p>
        </p:txBody>
      </p:sp>
    </p:spTree>
    <p:extLst>
      <p:ext uri="{BB962C8B-B14F-4D97-AF65-F5344CB8AC3E}">
        <p14:creationId xmlns:p14="http://schemas.microsoft.com/office/powerpoint/2010/main" val="42645423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_NO LOGO_Three Columns_Jan_202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6E06F4-5CC1-38B0-C996-6F3595C7B112}"/>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cxnSp>
        <p:nvCxnSpPr>
          <p:cNvPr id="7" name="Straight Connector 6">
            <a:extLst>
              <a:ext uri="{FF2B5EF4-FFF2-40B4-BE49-F238E27FC236}">
                <a16:creationId xmlns:a16="http://schemas.microsoft.com/office/drawing/2014/main" id="{63BE207F-B455-41E9-9347-0925024B5092}"/>
              </a:ext>
            </a:extLst>
          </p:cNvPr>
          <p:cNvCxnSpPr>
            <a:cxnSpLocks/>
          </p:cNvCxnSpPr>
          <p:nvPr userDrawn="1"/>
        </p:nvCxnSpPr>
        <p:spPr>
          <a:xfrm>
            <a:off x="4084858" y="1365689"/>
            <a:ext cx="0" cy="447352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DFC6A22-4543-87A8-9BB5-9C85FA20FB0D}"/>
              </a:ext>
            </a:extLst>
          </p:cNvPr>
          <p:cNvCxnSpPr>
            <a:cxnSpLocks/>
          </p:cNvCxnSpPr>
          <p:nvPr userDrawn="1"/>
        </p:nvCxnSpPr>
        <p:spPr>
          <a:xfrm>
            <a:off x="8112125" y="1365689"/>
            <a:ext cx="0" cy="447352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ABB154A4-3C1E-7886-5762-5F30CC641FF8}"/>
              </a:ext>
            </a:extLst>
          </p:cNvPr>
          <p:cNvSpPr>
            <a:spLocks noGrp="1"/>
          </p:cNvSpPr>
          <p:nvPr>
            <p:ph type="title"/>
          </p:nvPr>
        </p:nvSpPr>
        <p:spPr>
          <a:xfrm>
            <a:off x="442913" y="0"/>
            <a:ext cx="11307600"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14" name="Graphic 13">
            <a:extLst>
              <a:ext uri="{FF2B5EF4-FFF2-40B4-BE49-F238E27FC236}">
                <a16:creationId xmlns:a16="http://schemas.microsoft.com/office/drawing/2014/main" id="{4F9E36C9-F952-1ECF-AAD8-C7C14FB6C6F3}"/>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913" y="1053025"/>
            <a:ext cx="540000" cy="36000"/>
          </a:xfrm>
          <a:prstGeom prst="rect">
            <a:avLst/>
          </a:prstGeom>
        </p:spPr>
      </p:pic>
      <p:sp>
        <p:nvSpPr>
          <p:cNvPr id="6" name="Slide Number Placeholder 5">
            <a:extLst>
              <a:ext uri="{FF2B5EF4-FFF2-40B4-BE49-F238E27FC236}">
                <a16:creationId xmlns:a16="http://schemas.microsoft.com/office/drawing/2014/main" id="{C9BC4795-B90A-B93F-4FA3-DD8C86B3ECC6}"/>
              </a:ext>
            </a:extLst>
          </p:cNvPr>
          <p:cNvSpPr>
            <a:spLocks noGrp="1"/>
          </p:cNvSpPr>
          <p:nvPr>
            <p:ph type="sldNum" sz="quarter" idx="13"/>
          </p:nvPr>
        </p:nvSpPr>
        <p:spPr/>
        <p:txBody>
          <a:bodyPr/>
          <a:lstStyle/>
          <a:p>
            <a:fld id="{64D2DCB6-719E-0F43-A160-E508323EF71D}" type="slidenum">
              <a:rPr lang="en-DK" smtClean="0"/>
              <a:pPr/>
              <a:t>‹#›</a:t>
            </a:fld>
            <a:endParaRPr lang="en-DK"/>
          </a:p>
        </p:txBody>
      </p:sp>
      <p:sp>
        <p:nvSpPr>
          <p:cNvPr id="23" name="Content Placeholder 2">
            <a:extLst>
              <a:ext uri="{FF2B5EF4-FFF2-40B4-BE49-F238E27FC236}">
                <a16:creationId xmlns:a16="http://schemas.microsoft.com/office/drawing/2014/main" id="{D37DE0E5-5471-7049-05F9-5E05595AFCFF}"/>
              </a:ext>
            </a:extLst>
          </p:cNvPr>
          <p:cNvSpPr>
            <a:spLocks noGrp="1"/>
          </p:cNvSpPr>
          <p:nvPr>
            <p:ph idx="14"/>
          </p:nvPr>
        </p:nvSpPr>
        <p:spPr>
          <a:xfrm>
            <a:off x="446400" y="2293795"/>
            <a:ext cx="3168000" cy="3545419"/>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24" name="Content Placeholder 2">
            <a:extLst>
              <a:ext uri="{FF2B5EF4-FFF2-40B4-BE49-F238E27FC236}">
                <a16:creationId xmlns:a16="http://schemas.microsoft.com/office/drawing/2014/main" id="{1FB21F74-F5EB-F238-A74A-5506F0D9F143}"/>
              </a:ext>
            </a:extLst>
          </p:cNvPr>
          <p:cNvSpPr>
            <a:spLocks noGrp="1"/>
          </p:cNvSpPr>
          <p:nvPr>
            <p:ph idx="15"/>
          </p:nvPr>
        </p:nvSpPr>
        <p:spPr>
          <a:xfrm>
            <a:off x="4511675" y="2293795"/>
            <a:ext cx="3168650" cy="3545419"/>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25" name="Content Placeholder 2">
            <a:extLst>
              <a:ext uri="{FF2B5EF4-FFF2-40B4-BE49-F238E27FC236}">
                <a16:creationId xmlns:a16="http://schemas.microsoft.com/office/drawing/2014/main" id="{06BBB0C9-DCDB-C9E2-9CD7-3A55AB61AED1}"/>
              </a:ext>
            </a:extLst>
          </p:cNvPr>
          <p:cNvSpPr>
            <a:spLocks noGrp="1"/>
          </p:cNvSpPr>
          <p:nvPr>
            <p:ph idx="16"/>
          </p:nvPr>
        </p:nvSpPr>
        <p:spPr>
          <a:xfrm>
            <a:off x="8577600" y="2293795"/>
            <a:ext cx="3168000" cy="3545419"/>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3" name="Footer Placeholder 2">
            <a:extLst>
              <a:ext uri="{FF2B5EF4-FFF2-40B4-BE49-F238E27FC236}">
                <a16:creationId xmlns:a16="http://schemas.microsoft.com/office/drawing/2014/main" id="{0D826274-172B-200A-1915-43CD1A145E64}"/>
              </a:ext>
            </a:extLst>
          </p:cNvPr>
          <p:cNvSpPr>
            <a:spLocks noGrp="1"/>
          </p:cNvSpPr>
          <p:nvPr>
            <p:ph type="ftr" sz="quarter" idx="17"/>
          </p:nvPr>
        </p:nvSpPr>
        <p:spPr/>
        <p:txBody>
          <a:bodyPr/>
          <a:lstStyle/>
          <a:p>
            <a:endParaRPr lang="en-IE"/>
          </a:p>
        </p:txBody>
      </p:sp>
    </p:spTree>
    <p:extLst>
      <p:ext uri="{BB962C8B-B14F-4D97-AF65-F5344CB8AC3E}">
        <p14:creationId xmlns:p14="http://schemas.microsoft.com/office/powerpoint/2010/main" val="13987244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NO LOGO_Title_Jan_202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6E06F4-5CC1-38B0-C996-6F3595C7B112}"/>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13" name="Title 1">
            <a:extLst>
              <a:ext uri="{FF2B5EF4-FFF2-40B4-BE49-F238E27FC236}">
                <a16:creationId xmlns:a16="http://schemas.microsoft.com/office/drawing/2014/main" id="{ABB154A4-3C1E-7886-5762-5F30CC641FF8}"/>
              </a:ext>
            </a:extLst>
          </p:cNvPr>
          <p:cNvSpPr>
            <a:spLocks noGrp="1"/>
          </p:cNvSpPr>
          <p:nvPr>
            <p:ph type="title"/>
          </p:nvPr>
        </p:nvSpPr>
        <p:spPr>
          <a:xfrm>
            <a:off x="442913" y="0"/>
            <a:ext cx="11307600"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14" name="Graphic 13">
            <a:extLst>
              <a:ext uri="{FF2B5EF4-FFF2-40B4-BE49-F238E27FC236}">
                <a16:creationId xmlns:a16="http://schemas.microsoft.com/office/drawing/2014/main" id="{4F9E36C9-F952-1ECF-AAD8-C7C14FB6C6F3}"/>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913" y="1053025"/>
            <a:ext cx="540000" cy="36000"/>
          </a:xfrm>
          <a:prstGeom prst="rect">
            <a:avLst/>
          </a:prstGeom>
        </p:spPr>
      </p:pic>
      <p:sp>
        <p:nvSpPr>
          <p:cNvPr id="6" name="Slide Number Placeholder 5">
            <a:extLst>
              <a:ext uri="{FF2B5EF4-FFF2-40B4-BE49-F238E27FC236}">
                <a16:creationId xmlns:a16="http://schemas.microsoft.com/office/drawing/2014/main" id="{C9BC4795-B90A-B93F-4FA3-DD8C86B3ECC6}"/>
              </a:ext>
            </a:extLst>
          </p:cNvPr>
          <p:cNvSpPr>
            <a:spLocks noGrp="1"/>
          </p:cNvSpPr>
          <p:nvPr>
            <p:ph type="sldNum" sz="quarter" idx="13"/>
          </p:nvPr>
        </p:nvSpPr>
        <p:spPr/>
        <p:txBody>
          <a:bodyPr/>
          <a:lstStyle/>
          <a:p>
            <a:fld id="{64D2DCB6-719E-0F43-A160-E508323EF71D}" type="slidenum">
              <a:rPr lang="en-DK" smtClean="0"/>
              <a:pPr/>
              <a:t>‹#›</a:t>
            </a:fld>
            <a:endParaRPr lang="en-DK"/>
          </a:p>
        </p:txBody>
      </p:sp>
      <p:sp>
        <p:nvSpPr>
          <p:cNvPr id="3" name="Footer Placeholder 2">
            <a:extLst>
              <a:ext uri="{FF2B5EF4-FFF2-40B4-BE49-F238E27FC236}">
                <a16:creationId xmlns:a16="http://schemas.microsoft.com/office/drawing/2014/main" id="{7A75C7F1-1AC8-4A09-B347-2C93EF227AB6}"/>
              </a:ext>
            </a:extLst>
          </p:cNvPr>
          <p:cNvSpPr>
            <a:spLocks noGrp="1"/>
          </p:cNvSpPr>
          <p:nvPr>
            <p:ph type="ftr" sz="quarter" idx="14"/>
          </p:nvPr>
        </p:nvSpPr>
        <p:spPr/>
        <p:txBody>
          <a:bodyPr/>
          <a:lstStyle/>
          <a:p>
            <a:endParaRPr lang="en-IE"/>
          </a:p>
        </p:txBody>
      </p:sp>
    </p:spTree>
    <p:extLst>
      <p:ext uri="{BB962C8B-B14F-4D97-AF65-F5344CB8AC3E}">
        <p14:creationId xmlns:p14="http://schemas.microsoft.com/office/powerpoint/2010/main" val="35986909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_NO LOGO_Six Image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3" y="0"/>
            <a:ext cx="11306176"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screen">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9" name="Picture Placeholder 8">
            <a:extLst>
              <a:ext uri="{FF2B5EF4-FFF2-40B4-BE49-F238E27FC236}">
                <a16:creationId xmlns:a16="http://schemas.microsoft.com/office/drawing/2014/main" id="{015D40AE-DC36-ED0E-2121-8767D8062FFB}"/>
              </a:ext>
            </a:extLst>
          </p:cNvPr>
          <p:cNvSpPr>
            <a:spLocks noGrp="1"/>
          </p:cNvSpPr>
          <p:nvPr>
            <p:ph type="pic" sz="quarter" idx="11"/>
          </p:nvPr>
        </p:nvSpPr>
        <p:spPr>
          <a:xfrm>
            <a:off x="442913" y="1268413"/>
            <a:ext cx="3528000" cy="1620000"/>
          </a:xfrm>
        </p:spPr>
        <p:txBody>
          <a:bodyPr>
            <a:noAutofit/>
          </a:bodyPr>
          <a:lstStyle/>
          <a:p>
            <a:endParaRPr lang="en-DK"/>
          </a:p>
        </p:txBody>
      </p:sp>
      <p:sp>
        <p:nvSpPr>
          <p:cNvPr id="10" name="Picture Placeholder 8">
            <a:extLst>
              <a:ext uri="{FF2B5EF4-FFF2-40B4-BE49-F238E27FC236}">
                <a16:creationId xmlns:a16="http://schemas.microsoft.com/office/drawing/2014/main" id="{AB27D519-34F0-B9F8-C4A2-BF1B79EE1849}"/>
              </a:ext>
            </a:extLst>
          </p:cNvPr>
          <p:cNvSpPr>
            <a:spLocks noGrp="1" noRot="1" noMove="1" noResize="1" noEditPoints="1" noAdjustHandles="1" noChangeArrowheads="1" noChangeShapeType="1"/>
          </p:cNvSpPr>
          <p:nvPr>
            <p:ph type="pic" sz="quarter" idx="12"/>
          </p:nvPr>
        </p:nvSpPr>
        <p:spPr>
          <a:xfrm>
            <a:off x="4332000" y="1268413"/>
            <a:ext cx="3528000" cy="1620000"/>
          </a:xfrm>
        </p:spPr>
        <p:txBody>
          <a:bodyPr>
            <a:noAutofit/>
          </a:bodyPr>
          <a:lstStyle/>
          <a:p>
            <a:endParaRPr lang="en-DK"/>
          </a:p>
        </p:txBody>
      </p:sp>
      <p:sp>
        <p:nvSpPr>
          <p:cNvPr id="13" name="Picture Placeholder 8">
            <a:extLst>
              <a:ext uri="{FF2B5EF4-FFF2-40B4-BE49-F238E27FC236}">
                <a16:creationId xmlns:a16="http://schemas.microsoft.com/office/drawing/2014/main" id="{2B79F1DC-325C-B57B-7607-17205EF20504}"/>
              </a:ext>
            </a:extLst>
          </p:cNvPr>
          <p:cNvSpPr>
            <a:spLocks noGrp="1" noRot="1" noMove="1" noResize="1" noEditPoints="1" noAdjustHandles="1" noChangeArrowheads="1" noChangeShapeType="1"/>
          </p:cNvSpPr>
          <p:nvPr>
            <p:ph type="pic" sz="quarter" idx="13"/>
          </p:nvPr>
        </p:nvSpPr>
        <p:spPr>
          <a:xfrm>
            <a:off x="8221089" y="1268413"/>
            <a:ext cx="3528000" cy="1620000"/>
          </a:xfrm>
        </p:spPr>
        <p:txBody>
          <a:bodyPr>
            <a:noAutofit/>
          </a:bodyPr>
          <a:lstStyle/>
          <a:p>
            <a:endParaRPr lang="en-DK"/>
          </a:p>
        </p:txBody>
      </p:sp>
      <p:sp>
        <p:nvSpPr>
          <p:cNvPr id="14" name="Picture Placeholder 8">
            <a:extLst>
              <a:ext uri="{FF2B5EF4-FFF2-40B4-BE49-F238E27FC236}">
                <a16:creationId xmlns:a16="http://schemas.microsoft.com/office/drawing/2014/main" id="{5BFF5F76-538B-1FCC-3505-372495B7F24C}"/>
              </a:ext>
            </a:extLst>
          </p:cNvPr>
          <p:cNvSpPr>
            <a:spLocks noGrp="1" noRot="1" noMove="1" noResize="1" noEditPoints="1" noAdjustHandles="1" noChangeArrowheads="1" noChangeShapeType="1"/>
          </p:cNvSpPr>
          <p:nvPr>
            <p:ph type="pic" sz="quarter" idx="14"/>
          </p:nvPr>
        </p:nvSpPr>
        <p:spPr>
          <a:xfrm>
            <a:off x="442913" y="3767320"/>
            <a:ext cx="3528000" cy="1620000"/>
          </a:xfrm>
        </p:spPr>
        <p:txBody>
          <a:bodyPr>
            <a:noAutofit/>
          </a:bodyPr>
          <a:lstStyle/>
          <a:p>
            <a:endParaRPr lang="en-DK"/>
          </a:p>
        </p:txBody>
      </p:sp>
      <p:sp>
        <p:nvSpPr>
          <p:cNvPr id="15" name="Picture Placeholder 8">
            <a:extLst>
              <a:ext uri="{FF2B5EF4-FFF2-40B4-BE49-F238E27FC236}">
                <a16:creationId xmlns:a16="http://schemas.microsoft.com/office/drawing/2014/main" id="{25295BD2-B481-CDDE-D590-8A2F9CAFA239}"/>
              </a:ext>
            </a:extLst>
          </p:cNvPr>
          <p:cNvSpPr>
            <a:spLocks noGrp="1" noRot="1" noMove="1" noResize="1" noEditPoints="1" noAdjustHandles="1" noChangeArrowheads="1" noChangeShapeType="1"/>
          </p:cNvSpPr>
          <p:nvPr>
            <p:ph type="pic" sz="quarter" idx="15"/>
          </p:nvPr>
        </p:nvSpPr>
        <p:spPr>
          <a:xfrm>
            <a:off x="4332000" y="3767320"/>
            <a:ext cx="3528000" cy="1620000"/>
          </a:xfrm>
        </p:spPr>
        <p:txBody>
          <a:bodyPr>
            <a:noAutofit/>
          </a:bodyPr>
          <a:lstStyle/>
          <a:p>
            <a:endParaRPr lang="en-DK"/>
          </a:p>
        </p:txBody>
      </p:sp>
      <p:sp>
        <p:nvSpPr>
          <p:cNvPr id="16" name="Picture Placeholder 8">
            <a:extLst>
              <a:ext uri="{FF2B5EF4-FFF2-40B4-BE49-F238E27FC236}">
                <a16:creationId xmlns:a16="http://schemas.microsoft.com/office/drawing/2014/main" id="{36536F96-8E88-16C5-F564-E33CBC15659D}"/>
              </a:ext>
            </a:extLst>
          </p:cNvPr>
          <p:cNvSpPr>
            <a:spLocks noGrp="1" noRot="1" noMove="1" noResize="1" noEditPoints="1" noAdjustHandles="1" noChangeArrowheads="1" noChangeShapeType="1"/>
          </p:cNvSpPr>
          <p:nvPr>
            <p:ph type="pic" sz="quarter" idx="16"/>
          </p:nvPr>
        </p:nvSpPr>
        <p:spPr>
          <a:xfrm>
            <a:off x="8221089" y="3767320"/>
            <a:ext cx="3528000" cy="1620000"/>
          </a:xfrm>
        </p:spPr>
        <p:txBody>
          <a:bodyPr>
            <a:noAutofit/>
          </a:bodyPr>
          <a:lstStyle/>
          <a:p>
            <a:endParaRPr lang="en-DK"/>
          </a:p>
        </p:txBody>
      </p:sp>
      <p:sp>
        <p:nvSpPr>
          <p:cNvPr id="18" name="Text Placeholder 17">
            <a:extLst>
              <a:ext uri="{FF2B5EF4-FFF2-40B4-BE49-F238E27FC236}">
                <a16:creationId xmlns:a16="http://schemas.microsoft.com/office/drawing/2014/main" id="{4EDCD53A-F8B2-9435-3663-00EBFCCE5640}"/>
              </a:ext>
            </a:extLst>
          </p:cNvPr>
          <p:cNvSpPr>
            <a:spLocks noGrp="1" noRot="1" noMove="1" noResize="1" noEditPoints="1" noAdjustHandles="1" noChangeArrowheads="1" noChangeShapeType="1"/>
          </p:cNvSpPr>
          <p:nvPr>
            <p:ph type="body" sz="quarter" idx="17"/>
          </p:nvPr>
        </p:nvSpPr>
        <p:spPr>
          <a:xfrm>
            <a:off x="442913"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19" name="Text Placeholder 17">
            <a:extLst>
              <a:ext uri="{FF2B5EF4-FFF2-40B4-BE49-F238E27FC236}">
                <a16:creationId xmlns:a16="http://schemas.microsoft.com/office/drawing/2014/main" id="{4350FA8E-F072-C4E3-5AB6-AB8553BFA51C}"/>
              </a:ext>
            </a:extLst>
          </p:cNvPr>
          <p:cNvSpPr>
            <a:spLocks noGrp="1" noRot="1" noMove="1" noResize="1" noEditPoints="1" noAdjustHandles="1" noChangeArrowheads="1" noChangeShapeType="1"/>
          </p:cNvSpPr>
          <p:nvPr>
            <p:ph type="body" sz="quarter" idx="18"/>
          </p:nvPr>
        </p:nvSpPr>
        <p:spPr>
          <a:xfrm>
            <a:off x="4332000"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0" name="Text Placeholder 17">
            <a:extLst>
              <a:ext uri="{FF2B5EF4-FFF2-40B4-BE49-F238E27FC236}">
                <a16:creationId xmlns:a16="http://schemas.microsoft.com/office/drawing/2014/main" id="{C787A05E-7A29-06A0-2CC8-14EABA4B6126}"/>
              </a:ext>
            </a:extLst>
          </p:cNvPr>
          <p:cNvSpPr>
            <a:spLocks noGrp="1" noRot="1" noMove="1" noResize="1" noEditPoints="1" noAdjustHandles="1" noChangeArrowheads="1" noChangeShapeType="1"/>
          </p:cNvSpPr>
          <p:nvPr>
            <p:ph type="body" sz="quarter" idx="19"/>
          </p:nvPr>
        </p:nvSpPr>
        <p:spPr>
          <a:xfrm>
            <a:off x="8221089"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1" name="Text Placeholder 17">
            <a:extLst>
              <a:ext uri="{FF2B5EF4-FFF2-40B4-BE49-F238E27FC236}">
                <a16:creationId xmlns:a16="http://schemas.microsoft.com/office/drawing/2014/main" id="{A3268353-E759-E669-1ECD-D8549F9C410D}"/>
              </a:ext>
            </a:extLst>
          </p:cNvPr>
          <p:cNvSpPr>
            <a:spLocks noGrp="1" noRot="1" noMove="1" noResize="1" noEditPoints="1" noAdjustHandles="1" noChangeArrowheads="1" noChangeShapeType="1"/>
          </p:cNvSpPr>
          <p:nvPr>
            <p:ph type="body" sz="quarter" idx="20"/>
          </p:nvPr>
        </p:nvSpPr>
        <p:spPr>
          <a:xfrm>
            <a:off x="442913"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2" name="Text Placeholder 17">
            <a:extLst>
              <a:ext uri="{FF2B5EF4-FFF2-40B4-BE49-F238E27FC236}">
                <a16:creationId xmlns:a16="http://schemas.microsoft.com/office/drawing/2014/main" id="{4A946D09-490F-934A-6F13-D49C32E75D0E}"/>
              </a:ext>
            </a:extLst>
          </p:cNvPr>
          <p:cNvSpPr>
            <a:spLocks noGrp="1" noRot="1" noMove="1" noResize="1" noEditPoints="1" noAdjustHandles="1" noChangeArrowheads="1" noChangeShapeType="1"/>
          </p:cNvSpPr>
          <p:nvPr>
            <p:ph type="body" sz="quarter" idx="21"/>
          </p:nvPr>
        </p:nvSpPr>
        <p:spPr>
          <a:xfrm>
            <a:off x="4332000"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3" name="Text Placeholder 17">
            <a:extLst>
              <a:ext uri="{FF2B5EF4-FFF2-40B4-BE49-F238E27FC236}">
                <a16:creationId xmlns:a16="http://schemas.microsoft.com/office/drawing/2014/main" id="{2401C564-B48E-25CA-2395-9D3746E5FBED}"/>
              </a:ext>
            </a:extLst>
          </p:cNvPr>
          <p:cNvSpPr>
            <a:spLocks noGrp="1" noRot="1" noMove="1" noResize="1" noEditPoints="1" noAdjustHandles="1" noChangeArrowheads="1" noChangeShapeType="1"/>
          </p:cNvSpPr>
          <p:nvPr>
            <p:ph type="body" sz="quarter" idx="22"/>
          </p:nvPr>
        </p:nvSpPr>
        <p:spPr>
          <a:xfrm>
            <a:off x="8221089"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5" name="Slide Number Placeholder 4">
            <a:extLst>
              <a:ext uri="{FF2B5EF4-FFF2-40B4-BE49-F238E27FC236}">
                <a16:creationId xmlns:a16="http://schemas.microsoft.com/office/drawing/2014/main" id="{F43F00AC-198A-9AAF-46C4-87F6083081E5}"/>
              </a:ext>
            </a:extLst>
          </p:cNvPr>
          <p:cNvSpPr>
            <a:spLocks noGrp="1"/>
          </p:cNvSpPr>
          <p:nvPr>
            <p:ph type="sldNum" sz="quarter" idx="24"/>
          </p:nvPr>
        </p:nvSpPr>
        <p:spPr/>
        <p:txBody>
          <a:bodyPr/>
          <a:lstStyle/>
          <a:p>
            <a:fld id="{64D2DCB6-719E-0F43-A160-E508323EF71D}" type="slidenum">
              <a:rPr lang="en-DK" smtClean="0"/>
              <a:pPr/>
              <a:t>‹#›</a:t>
            </a:fld>
            <a:endParaRPr lang="en-DK"/>
          </a:p>
        </p:txBody>
      </p:sp>
      <p:sp>
        <p:nvSpPr>
          <p:cNvPr id="7" name="Footer Placeholder 6">
            <a:extLst>
              <a:ext uri="{FF2B5EF4-FFF2-40B4-BE49-F238E27FC236}">
                <a16:creationId xmlns:a16="http://schemas.microsoft.com/office/drawing/2014/main" id="{8FCBE1F9-FA7E-3333-F9BA-D4445EE8E8E5}"/>
              </a:ext>
            </a:extLst>
          </p:cNvPr>
          <p:cNvSpPr>
            <a:spLocks noGrp="1"/>
          </p:cNvSpPr>
          <p:nvPr>
            <p:ph type="ftr" sz="quarter" idx="25"/>
          </p:nvPr>
        </p:nvSpPr>
        <p:spPr/>
        <p:txBody>
          <a:bodyPr/>
          <a:lstStyle/>
          <a:p>
            <a:endParaRPr lang="en-IE"/>
          </a:p>
        </p:txBody>
      </p:sp>
    </p:spTree>
    <p:extLst>
      <p:ext uri="{BB962C8B-B14F-4D97-AF65-F5344CB8AC3E}">
        <p14:creationId xmlns:p14="http://schemas.microsoft.com/office/powerpoint/2010/main" val="148222816"/>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lue_DIVIDER_Blank_Jan_2025">
    <p:spTree>
      <p:nvGrpSpPr>
        <p:cNvPr id="1" name=""/>
        <p:cNvGrpSpPr/>
        <p:nvPr/>
      </p:nvGrpSpPr>
      <p:grpSpPr>
        <a:xfrm>
          <a:off x="0" y="0"/>
          <a:ext cx="0" cy="0"/>
          <a:chOff x="0" y="0"/>
          <a:chExt cx="0" cy="0"/>
        </a:xfrm>
      </p:grpSpPr>
      <p:sp>
        <p:nvSpPr>
          <p:cNvPr id="48" name="Picture Placeholder 47">
            <a:extLst>
              <a:ext uri="{FF2B5EF4-FFF2-40B4-BE49-F238E27FC236}">
                <a16:creationId xmlns:a16="http://schemas.microsoft.com/office/drawing/2014/main" id="{A0999248-014E-E330-C744-67B67419C1D7}"/>
              </a:ext>
            </a:extLst>
          </p:cNvPr>
          <p:cNvSpPr>
            <a:spLocks noGrp="1"/>
          </p:cNvSpPr>
          <p:nvPr>
            <p:ph type="pic" sz="quarter" idx="13"/>
          </p:nvPr>
        </p:nvSpPr>
        <p:spPr>
          <a:xfrm>
            <a:off x="8112125" y="-1"/>
            <a:ext cx="4079875" cy="6857999"/>
          </a:xfrm>
          <a:noFill/>
        </p:spPr>
        <p:txBody>
          <a:bodyPr>
            <a:normAutofit/>
          </a:bodyPr>
          <a:lstStyle>
            <a:lvl1pPr>
              <a:defRPr sz="1100"/>
            </a:lvl1pPr>
          </a:lstStyle>
          <a:p>
            <a:endParaRPr lang="en-DK"/>
          </a:p>
        </p:txBody>
      </p:sp>
      <p:sp>
        <p:nvSpPr>
          <p:cNvPr id="2" name="Title 1">
            <a:extLst>
              <a:ext uri="{FF2B5EF4-FFF2-40B4-BE49-F238E27FC236}">
                <a16:creationId xmlns:a16="http://schemas.microsoft.com/office/drawing/2014/main" id="{C0641DD1-7679-677C-E5F7-106CA2181E11}"/>
              </a:ext>
            </a:extLst>
          </p:cNvPr>
          <p:cNvSpPr>
            <a:spLocks noGrp="1"/>
          </p:cNvSpPr>
          <p:nvPr>
            <p:ph type="ctrTitle"/>
          </p:nvPr>
        </p:nvSpPr>
        <p:spPr>
          <a:xfrm>
            <a:off x="442913" y="2734866"/>
            <a:ext cx="7237411" cy="1846659"/>
          </a:xfrm>
        </p:spPr>
        <p:txBody>
          <a:bodyPr anchor="b">
            <a:noAutofit/>
          </a:bodyPr>
          <a:lstStyle>
            <a:lvl1pPr algn="l">
              <a:defRPr sz="4000" b="1">
                <a:solidFill>
                  <a:schemeClr val="bg1"/>
                </a:solidFill>
              </a:defRPr>
            </a:lvl1pPr>
          </a:lstStyle>
          <a:p>
            <a:r>
              <a:rPr lang="en-GB"/>
              <a:t>Click to edit Master title style</a:t>
            </a:r>
            <a:endParaRPr lang="en-DK"/>
          </a:p>
        </p:txBody>
      </p:sp>
    </p:spTree>
    <p:extLst>
      <p:ext uri="{BB962C8B-B14F-4D97-AF65-F5344CB8AC3E}">
        <p14:creationId xmlns:p14="http://schemas.microsoft.com/office/powerpoint/2010/main" val="214848993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Slide_Singapore">
    <p:spTree>
      <p:nvGrpSpPr>
        <p:cNvPr id="1" name=""/>
        <p:cNvGrpSpPr/>
        <p:nvPr/>
      </p:nvGrpSpPr>
      <p:grpSpPr>
        <a:xfrm>
          <a:off x="0" y="0"/>
          <a:ext cx="0" cy="0"/>
          <a:chOff x="0" y="0"/>
          <a:chExt cx="0" cy="0"/>
        </a:xfrm>
      </p:grpSpPr>
      <p:pic>
        <p:nvPicPr>
          <p:cNvPr id="36" name="Picture Placeholder 10">
            <a:extLst>
              <a:ext uri="{FF2B5EF4-FFF2-40B4-BE49-F238E27FC236}">
                <a16:creationId xmlns:a16="http://schemas.microsoft.com/office/drawing/2014/main" id="{73A256E1-E03E-7298-B48F-280976C8DB4B}"/>
              </a:ext>
            </a:extLst>
          </p:cNvPr>
          <p:cNvPicPr>
            <a:picLocks noChangeAspect="1"/>
          </p:cNvPicPr>
          <p:nvPr userDrawn="1"/>
        </p:nvPicPr>
        <p:blipFill>
          <a:blip r:embed="rId2" cstate="screen">
            <a:extLst>
              <a:ext uri="{28A0092B-C50C-407E-A947-70E740481C1C}">
                <a14:useLocalDpi xmlns:a14="http://schemas.microsoft.com/office/drawing/2010/main"/>
              </a:ext>
            </a:extLst>
          </a:blip>
          <a:srcRect l="-29"/>
          <a:stretch>
            <a:fillRect/>
          </a:stretch>
        </p:blipFill>
        <p:spPr>
          <a:xfrm flipH="1">
            <a:off x="10765" y="1406538"/>
            <a:ext cx="1693561" cy="5451462"/>
          </a:xfrm>
          <a:prstGeom prst="rect">
            <a:avLst/>
          </a:prstGeom>
        </p:spPr>
      </p:pic>
      <p:pic>
        <p:nvPicPr>
          <p:cNvPr id="39" name="Picture Placeholder 10">
            <a:extLst>
              <a:ext uri="{FF2B5EF4-FFF2-40B4-BE49-F238E27FC236}">
                <a16:creationId xmlns:a16="http://schemas.microsoft.com/office/drawing/2014/main" id="{DAF5D4DC-AED3-3B12-E41C-0DF291CC3C3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04326" y="1406538"/>
            <a:ext cx="10476909" cy="5451462"/>
          </a:xfrm>
          <a:prstGeom prst="rect">
            <a:avLst/>
          </a:prstGeom>
        </p:spPr>
      </p:pic>
      <p:sp>
        <p:nvSpPr>
          <p:cNvPr id="40" name="Rectangle 39">
            <a:extLst>
              <a:ext uri="{FF2B5EF4-FFF2-40B4-BE49-F238E27FC236}">
                <a16:creationId xmlns:a16="http://schemas.microsoft.com/office/drawing/2014/main" id="{1FDCFE47-0031-5A76-163B-A043CD73D93B}"/>
              </a:ext>
            </a:extLst>
          </p:cNvPr>
          <p:cNvSpPr/>
          <p:nvPr userDrawn="1"/>
        </p:nvSpPr>
        <p:spPr>
          <a:xfrm>
            <a:off x="-1" y="1406538"/>
            <a:ext cx="10475090" cy="5451462"/>
          </a:xfrm>
          <a:prstGeom prst="rect">
            <a:avLst/>
          </a:prstGeom>
          <a:gradFill>
            <a:gsLst>
              <a:gs pos="79000">
                <a:schemeClr val="accent1">
                  <a:alpha val="0"/>
                </a:schemeClr>
              </a:gs>
              <a:gs pos="7000">
                <a:schemeClr val="tx2"/>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554A1142-2421-D8A1-851A-5FF1A49C12F8}"/>
              </a:ext>
            </a:extLst>
          </p:cNvPr>
          <p:cNvSpPr/>
          <p:nvPr userDrawn="1"/>
        </p:nvSpPr>
        <p:spPr>
          <a:xfrm>
            <a:off x="0" y="6210000"/>
            <a:ext cx="12192000" cy="648000"/>
          </a:xfrm>
          <a:prstGeom prst="rect">
            <a:avLst/>
          </a:prstGeom>
          <a:gradFill flip="none" rotWithShape="1">
            <a:gsLst>
              <a:gs pos="100000">
                <a:schemeClr val="tx1">
                  <a:alpha val="0"/>
                </a:schemeClr>
              </a:gs>
              <a:gs pos="0">
                <a:schemeClr val="tx1">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5" name="Rectangle 34">
            <a:extLst>
              <a:ext uri="{FF2B5EF4-FFF2-40B4-BE49-F238E27FC236}">
                <a16:creationId xmlns:a16="http://schemas.microsoft.com/office/drawing/2014/main" id="{63A11739-51EE-43E9-06D5-82058C7C2BAE}"/>
              </a:ext>
            </a:extLst>
          </p:cNvPr>
          <p:cNvSpPr/>
          <p:nvPr userDrawn="1"/>
        </p:nvSpPr>
        <p:spPr>
          <a:xfrm>
            <a:off x="0" y="3464713"/>
            <a:ext cx="12192000" cy="1728000"/>
          </a:xfrm>
          <a:prstGeom prst="rect">
            <a:avLst/>
          </a:prstGeom>
          <a:gradFill flip="none" rotWithShape="1">
            <a:gsLst>
              <a:gs pos="100000">
                <a:schemeClr val="tx1">
                  <a:alpha val="0"/>
                </a:schemeClr>
              </a:gs>
              <a:gs pos="0">
                <a:schemeClr val="tx1">
                  <a:alpha val="0"/>
                </a:schemeClr>
              </a:gs>
              <a:gs pos="50000">
                <a:schemeClr val="tx1">
                  <a:alpha val="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 name="Title 1">
            <a:extLst>
              <a:ext uri="{FF2B5EF4-FFF2-40B4-BE49-F238E27FC236}">
                <a16:creationId xmlns:a16="http://schemas.microsoft.com/office/drawing/2014/main" id="{C0641DD1-7679-677C-E5F7-106CA2181E11}"/>
              </a:ext>
            </a:extLst>
          </p:cNvPr>
          <p:cNvSpPr>
            <a:spLocks noGrp="1"/>
          </p:cNvSpPr>
          <p:nvPr>
            <p:ph type="ctrTitle"/>
          </p:nvPr>
        </p:nvSpPr>
        <p:spPr>
          <a:xfrm>
            <a:off x="453678" y="2276475"/>
            <a:ext cx="10801350" cy="2305050"/>
          </a:xfrm>
          <a:noFill/>
        </p:spPr>
        <p:txBody>
          <a:bodyPr anchor="b" anchorCtr="0">
            <a:noAutofit/>
          </a:bodyPr>
          <a:lstStyle>
            <a:lvl1pPr algn="l">
              <a:defRPr sz="5400" b="1">
                <a:solidFill>
                  <a:schemeClr val="bg1"/>
                </a:solidFill>
              </a:defRPr>
            </a:lvl1pPr>
          </a:lstStyle>
          <a:p>
            <a:r>
              <a:rPr lang="en-GB"/>
              <a:t>Click to edit Master title style</a:t>
            </a:r>
            <a:endParaRPr lang="en-DK"/>
          </a:p>
        </p:txBody>
      </p:sp>
      <p:sp>
        <p:nvSpPr>
          <p:cNvPr id="6" name="Subtitle 2">
            <a:extLst>
              <a:ext uri="{FF2B5EF4-FFF2-40B4-BE49-F238E27FC236}">
                <a16:creationId xmlns:a16="http://schemas.microsoft.com/office/drawing/2014/main" id="{BB33BBA0-4572-0EFB-9D24-1C221E3044B7}"/>
              </a:ext>
            </a:extLst>
          </p:cNvPr>
          <p:cNvSpPr>
            <a:spLocks noGrp="1"/>
          </p:cNvSpPr>
          <p:nvPr>
            <p:ph type="subTitle" idx="1"/>
          </p:nvPr>
        </p:nvSpPr>
        <p:spPr>
          <a:xfrm>
            <a:off x="442914" y="4972430"/>
            <a:ext cx="7632700" cy="307777"/>
          </a:xfrm>
        </p:spPr>
        <p:txBody>
          <a:bodyPr anchor="t" anchorCtr="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DK"/>
          </a:p>
        </p:txBody>
      </p:sp>
      <p:pic>
        <p:nvPicPr>
          <p:cNvPr id="7" name="Picture 6">
            <a:extLst>
              <a:ext uri="{FF2B5EF4-FFF2-40B4-BE49-F238E27FC236}">
                <a16:creationId xmlns:a16="http://schemas.microsoft.com/office/drawing/2014/main" id="{D8DDA069-1327-124F-225A-A74D981CE04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1098761"/>
            <a:ext cx="12192000" cy="307777"/>
          </a:xfrm>
          <a:prstGeom prst="rect">
            <a:avLst/>
          </a:prstGeom>
        </p:spPr>
      </p:pic>
      <p:grpSp>
        <p:nvGrpSpPr>
          <p:cNvPr id="3" name="Graphic 17">
            <a:extLst>
              <a:ext uri="{FF2B5EF4-FFF2-40B4-BE49-F238E27FC236}">
                <a16:creationId xmlns:a16="http://schemas.microsoft.com/office/drawing/2014/main" id="{0ABE9E66-B085-5980-D6AA-5097F6321D70}"/>
              </a:ext>
            </a:extLst>
          </p:cNvPr>
          <p:cNvGrpSpPr>
            <a:grpSpLocks noChangeAspect="1"/>
          </p:cNvGrpSpPr>
          <p:nvPr userDrawn="1"/>
        </p:nvGrpSpPr>
        <p:grpSpPr>
          <a:xfrm>
            <a:off x="9103088" y="6458998"/>
            <a:ext cx="2646000" cy="177687"/>
            <a:chOff x="3994150" y="3289300"/>
            <a:chExt cx="4202178" cy="282193"/>
          </a:xfrm>
          <a:solidFill>
            <a:schemeClr val="bg1"/>
          </a:solidFill>
        </p:grpSpPr>
        <p:grpSp>
          <p:nvGrpSpPr>
            <p:cNvPr id="4" name="Graphic 17">
              <a:extLst>
                <a:ext uri="{FF2B5EF4-FFF2-40B4-BE49-F238E27FC236}">
                  <a16:creationId xmlns:a16="http://schemas.microsoft.com/office/drawing/2014/main" id="{64CE8E5E-21D2-8A43-68C7-ECF37B2A79BF}"/>
                </a:ext>
              </a:extLst>
            </p:cNvPr>
            <p:cNvGrpSpPr/>
            <p:nvPr/>
          </p:nvGrpSpPr>
          <p:grpSpPr>
            <a:xfrm>
              <a:off x="3994150" y="3289300"/>
              <a:ext cx="2355593" cy="276140"/>
              <a:chOff x="3994150" y="3289300"/>
              <a:chExt cx="2355593" cy="276140"/>
            </a:xfrm>
            <a:grpFill/>
          </p:grpSpPr>
          <p:sp>
            <p:nvSpPr>
              <p:cNvPr id="20" name="Freeform 19">
                <a:extLst>
                  <a:ext uri="{FF2B5EF4-FFF2-40B4-BE49-F238E27FC236}">
                    <a16:creationId xmlns:a16="http://schemas.microsoft.com/office/drawing/2014/main" id="{9380413A-F693-C78D-153A-3F3DB27EE46B}"/>
                  </a:ext>
                </a:extLst>
              </p:cNvPr>
              <p:cNvSpPr/>
              <p:nvPr/>
            </p:nvSpPr>
            <p:spPr>
              <a:xfrm>
                <a:off x="3994150" y="3293770"/>
                <a:ext cx="153596" cy="211598"/>
              </a:xfrm>
              <a:custGeom>
                <a:avLst/>
                <a:gdLst>
                  <a:gd name="connsiteX0" fmla="*/ 86452 w 153596"/>
                  <a:gd name="connsiteY0" fmla="*/ 16857 h 211598"/>
                  <a:gd name="connsiteX1" fmla="*/ 86452 w 153596"/>
                  <a:gd name="connsiteY1" fmla="*/ 211599 h 211598"/>
                  <a:gd name="connsiteX2" fmla="*/ 67145 w 153596"/>
                  <a:gd name="connsiteY2" fmla="*/ 211599 h 211598"/>
                  <a:gd name="connsiteX3" fmla="*/ 67145 w 153596"/>
                  <a:gd name="connsiteY3" fmla="*/ 16857 h 211598"/>
                  <a:gd name="connsiteX4" fmla="*/ 0 w 153596"/>
                  <a:gd name="connsiteY4" fmla="*/ 16857 h 211598"/>
                  <a:gd name="connsiteX5" fmla="*/ 0 w 153596"/>
                  <a:gd name="connsiteY5" fmla="*/ 0 h 211598"/>
                  <a:gd name="connsiteX6" fmla="*/ 153597 w 153596"/>
                  <a:gd name="connsiteY6" fmla="*/ 0 h 211598"/>
                  <a:gd name="connsiteX7" fmla="*/ 153597 w 153596"/>
                  <a:gd name="connsiteY7" fmla="*/ 16764 h 211598"/>
                  <a:gd name="connsiteX8" fmla="*/ 86452 w 153596"/>
                  <a:gd name="connsiteY8" fmla="*/ 16764 h 21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596" h="211598">
                    <a:moveTo>
                      <a:pt x="86452" y="16857"/>
                    </a:moveTo>
                    <a:lnTo>
                      <a:pt x="86452" y="211599"/>
                    </a:lnTo>
                    <a:lnTo>
                      <a:pt x="67145" y="211599"/>
                    </a:lnTo>
                    <a:lnTo>
                      <a:pt x="67145" y="16857"/>
                    </a:lnTo>
                    <a:lnTo>
                      <a:pt x="0" y="16857"/>
                    </a:lnTo>
                    <a:lnTo>
                      <a:pt x="0" y="0"/>
                    </a:lnTo>
                    <a:lnTo>
                      <a:pt x="153597" y="0"/>
                    </a:lnTo>
                    <a:lnTo>
                      <a:pt x="153597" y="16764"/>
                    </a:lnTo>
                    <a:lnTo>
                      <a:pt x="86452" y="16764"/>
                    </a:lnTo>
                    <a:close/>
                  </a:path>
                </a:pathLst>
              </a:custGeom>
              <a:grpFill/>
              <a:ln w="9503" cap="flat">
                <a:noFill/>
                <a:prstDash val="solid"/>
                <a:miter/>
              </a:ln>
            </p:spPr>
            <p:txBody>
              <a:bodyPr rtlCol="0" anchor="ctr"/>
              <a:lstStyle/>
              <a:p>
                <a:endParaRPr lang="en-DK"/>
              </a:p>
            </p:txBody>
          </p:sp>
          <p:sp>
            <p:nvSpPr>
              <p:cNvPr id="21" name="Freeform 20">
                <a:extLst>
                  <a:ext uri="{FF2B5EF4-FFF2-40B4-BE49-F238E27FC236}">
                    <a16:creationId xmlns:a16="http://schemas.microsoft.com/office/drawing/2014/main" id="{28861751-5028-A967-6EF3-EDA15A23A837}"/>
                  </a:ext>
                </a:extLst>
              </p:cNvPr>
              <p:cNvSpPr/>
              <p:nvPr/>
            </p:nvSpPr>
            <p:spPr>
              <a:xfrm>
                <a:off x="4182936" y="3289300"/>
                <a:ext cx="113461" cy="216162"/>
              </a:xfrm>
              <a:custGeom>
                <a:avLst/>
                <a:gdLst>
                  <a:gd name="connsiteX0" fmla="*/ 94726 w 113461"/>
                  <a:gd name="connsiteY0" fmla="*/ 216069 h 216162"/>
                  <a:gd name="connsiteX1" fmla="*/ 94726 w 113461"/>
                  <a:gd name="connsiteY1" fmla="*/ 120701 h 216162"/>
                  <a:gd name="connsiteX2" fmla="*/ 58586 w 113461"/>
                  <a:gd name="connsiteY2" fmla="*/ 78418 h 216162"/>
                  <a:gd name="connsiteX3" fmla="*/ 18736 w 113461"/>
                  <a:gd name="connsiteY3" fmla="*/ 102726 h 216162"/>
                  <a:gd name="connsiteX4" fmla="*/ 18736 w 113461"/>
                  <a:gd name="connsiteY4" fmla="*/ 216162 h 216162"/>
                  <a:gd name="connsiteX5" fmla="*/ 0 w 113461"/>
                  <a:gd name="connsiteY5" fmla="*/ 216162 h 216162"/>
                  <a:gd name="connsiteX6" fmla="*/ 0 w 113461"/>
                  <a:gd name="connsiteY6" fmla="*/ 0 h 216162"/>
                  <a:gd name="connsiteX7" fmla="*/ 18736 w 113461"/>
                  <a:gd name="connsiteY7" fmla="*/ 0 h 216162"/>
                  <a:gd name="connsiteX8" fmla="*/ 18736 w 113461"/>
                  <a:gd name="connsiteY8" fmla="*/ 84658 h 216162"/>
                  <a:gd name="connsiteX9" fmla="*/ 62580 w 113461"/>
                  <a:gd name="connsiteY9" fmla="*/ 62772 h 216162"/>
                  <a:gd name="connsiteX10" fmla="*/ 113462 w 113461"/>
                  <a:gd name="connsiteY10" fmla="*/ 122191 h 216162"/>
                  <a:gd name="connsiteX11" fmla="*/ 113462 w 113461"/>
                  <a:gd name="connsiteY11" fmla="*/ 216162 h 216162"/>
                  <a:gd name="connsiteX12" fmla="*/ 94726 w 113461"/>
                  <a:gd name="connsiteY12" fmla="*/ 216162 h 21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461" h="216162">
                    <a:moveTo>
                      <a:pt x="94726" y="216069"/>
                    </a:moveTo>
                    <a:lnTo>
                      <a:pt x="94726" y="120701"/>
                    </a:lnTo>
                    <a:cubicBezTo>
                      <a:pt x="94726" y="93133"/>
                      <a:pt x="83694" y="78418"/>
                      <a:pt x="58586" y="78418"/>
                    </a:cubicBezTo>
                    <a:cubicBezTo>
                      <a:pt x="39850" y="78418"/>
                      <a:pt x="26725" y="90991"/>
                      <a:pt x="18736" y="102726"/>
                    </a:cubicBezTo>
                    <a:lnTo>
                      <a:pt x="18736" y="216162"/>
                    </a:lnTo>
                    <a:lnTo>
                      <a:pt x="0" y="216162"/>
                    </a:lnTo>
                    <a:lnTo>
                      <a:pt x="0" y="0"/>
                    </a:lnTo>
                    <a:lnTo>
                      <a:pt x="18736" y="0"/>
                    </a:lnTo>
                    <a:lnTo>
                      <a:pt x="18736" y="84658"/>
                    </a:lnTo>
                    <a:cubicBezTo>
                      <a:pt x="28532" y="71713"/>
                      <a:pt x="43844" y="62772"/>
                      <a:pt x="62580" y="62772"/>
                    </a:cubicBezTo>
                    <a:cubicBezTo>
                      <a:pt x="101193" y="62772"/>
                      <a:pt x="113462" y="86800"/>
                      <a:pt x="113462" y="122191"/>
                    </a:cubicBezTo>
                    <a:lnTo>
                      <a:pt x="113462" y="216162"/>
                    </a:lnTo>
                    <a:lnTo>
                      <a:pt x="94726" y="216162"/>
                    </a:lnTo>
                    <a:close/>
                  </a:path>
                </a:pathLst>
              </a:custGeom>
              <a:grpFill/>
              <a:ln w="9503" cap="flat">
                <a:noFill/>
                <a:prstDash val="solid"/>
                <a:miter/>
              </a:ln>
            </p:spPr>
            <p:txBody>
              <a:bodyPr rtlCol="0" anchor="ctr"/>
              <a:lstStyle/>
              <a:p>
                <a:endParaRPr lang="en-DK"/>
              </a:p>
            </p:txBody>
          </p:sp>
          <p:sp>
            <p:nvSpPr>
              <p:cNvPr id="22" name="Freeform 21">
                <a:extLst>
                  <a:ext uri="{FF2B5EF4-FFF2-40B4-BE49-F238E27FC236}">
                    <a16:creationId xmlns:a16="http://schemas.microsoft.com/office/drawing/2014/main" id="{9431464B-5441-068C-67A2-B628259EC5DE}"/>
                  </a:ext>
                </a:extLst>
              </p:cNvPr>
              <p:cNvSpPr/>
              <p:nvPr/>
            </p:nvSpPr>
            <p:spPr>
              <a:xfrm>
                <a:off x="4338434"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23" name="Freeform 22">
                <a:extLst>
                  <a:ext uri="{FF2B5EF4-FFF2-40B4-BE49-F238E27FC236}">
                    <a16:creationId xmlns:a16="http://schemas.microsoft.com/office/drawing/2014/main" id="{69248F8C-887E-3154-4A1F-7DFC711C8FE9}"/>
                  </a:ext>
                </a:extLst>
              </p:cNvPr>
              <p:cNvSpPr/>
              <p:nvPr/>
            </p:nvSpPr>
            <p:spPr>
              <a:xfrm>
                <a:off x="4595317" y="3352071"/>
                <a:ext cx="123828" cy="213368"/>
              </a:xfrm>
              <a:custGeom>
                <a:avLst/>
                <a:gdLst>
                  <a:gd name="connsiteX0" fmla="*/ 62865 w 123828"/>
                  <a:gd name="connsiteY0" fmla="*/ 156650 h 213368"/>
                  <a:gd name="connsiteX1" fmla="*/ 19687 w 123828"/>
                  <a:gd name="connsiteY1" fmla="*/ 138676 h 213368"/>
                  <a:gd name="connsiteX2" fmla="*/ 19687 w 123828"/>
                  <a:gd name="connsiteY2" fmla="*/ 213368 h 213368"/>
                  <a:gd name="connsiteX3" fmla="*/ 951 w 123828"/>
                  <a:gd name="connsiteY3" fmla="*/ 213368 h 213368"/>
                  <a:gd name="connsiteX4" fmla="*/ 951 w 123828"/>
                  <a:gd name="connsiteY4" fmla="*/ 31479 h 213368"/>
                  <a:gd name="connsiteX5" fmla="*/ 0 w 123828"/>
                  <a:gd name="connsiteY5" fmla="*/ 3260 h 213368"/>
                  <a:gd name="connsiteX6" fmla="*/ 15597 w 123828"/>
                  <a:gd name="connsiteY6" fmla="*/ 3260 h 213368"/>
                  <a:gd name="connsiteX7" fmla="*/ 17119 w 123828"/>
                  <a:gd name="connsiteY7" fmla="*/ 26077 h 213368"/>
                  <a:gd name="connsiteX8" fmla="*/ 65243 w 123828"/>
                  <a:gd name="connsiteY8" fmla="*/ 0 h 213368"/>
                  <a:gd name="connsiteX9" fmla="*/ 123828 w 123828"/>
                  <a:gd name="connsiteY9" fmla="*/ 76835 h 213368"/>
                  <a:gd name="connsiteX10" fmla="*/ 62865 w 123828"/>
                  <a:gd name="connsiteY10" fmla="*/ 156650 h 213368"/>
                  <a:gd name="connsiteX11" fmla="*/ 61058 w 123828"/>
                  <a:gd name="connsiteY11" fmla="*/ 15274 h 213368"/>
                  <a:gd name="connsiteX12" fmla="*/ 19687 w 123828"/>
                  <a:gd name="connsiteY12" fmla="*/ 42003 h 213368"/>
                  <a:gd name="connsiteX13" fmla="*/ 19687 w 123828"/>
                  <a:gd name="connsiteY13" fmla="*/ 123309 h 213368"/>
                  <a:gd name="connsiteX14" fmla="*/ 58300 w 123828"/>
                  <a:gd name="connsiteY14" fmla="*/ 141283 h 213368"/>
                  <a:gd name="connsiteX15" fmla="*/ 104237 w 123828"/>
                  <a:gd name="connsiteY15" fmla="*/ 78232 h 213368"/>
                  <a:gd name="connsiteX16" fmla="*/ 61058 w 123828"/>
                  <a:gd name="connsiteY16" fmla="*/ 15181 h 21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828" h="213368">
                    <a:moveTo>
                      <a:pt x="62865" y="156650"/>
                    </a:moveTo>
                    <a:cubicBezTo>
                      <a:pt x="44129" y="156650"/>
                      <a:pt x="28817" y="149758"/>
                      <a:pt x="19687" y="138676"/>
                    </a:cubicBezTo>
                    <a:lnTo>
                      <a:pt x="19687" y="213368"/>
                    </a:lnTo>
                    <a:lnTo>
                      <a:pt x="951" y="213368"/>
                    </a:lnTo>
                    <a:lnTo>
                      <a:pt x="951" y="31479"/>
                    </a:lnTo>
                    <a:cubicBezTo>
                      <a:pt x="951" y="24308"/>
                      <a:pt x="380" y="9872"/>
                      <a:pt x="0" y="3260"/>
                    </a:cubicBezTo>
                    <a:lnTo>
                      <a:pt x="15597" y="3260"/>
                    </a:lnTo>
                    <a:lnTo>
                      <a:pt x="17119" y="26077"/>
                    </a:lnTo>
                    <a:cubicBezTo>
                      <a:pt x="27200" y="13132"/>
                      <a:pt x="40420" y="0"/>
                      <a:pt x="65243" y="0"/>
                    </a:cubicBezTo>
                    <a:cubicBezTo>
                      <a:pt x="102334" y="0"/>
                      <a:pt x="123828" y="32131"/>
                      <a:pt x="123828" y="76835"/>
                    </a:cubicBezTo>
                    <a:cubicBezTo>
                      <a:pt x="123828" y="121539"/>
                      <a:pt x="102049" y="156650"/>
                      <a:pt x="62865" y="156650"/>
                    </a:cubicBezTo>
                    <a:close/>
                    <a:moveTo>
                      <a:pt x="61058" y="15274"/>
                    </a:moveTo>
                    <a:cubicBezTo>
                      <a:pt x="40515" y="15274"/>
                      <a:pt x="26440" y="32410"/>
                      <a:pt x="19687" y="42003"/>
                    </a:cubicBezTo>
                    <a:lnTo>
                      <a:pt x="19687" y="123309"/>
                    </a:lnTo>
                    <a:cubicBezTo>
                      <a:pt x="28247" y="132622"/>
                      <a:pt x="39564" y="141283"/>
                      <a:pt x="58300" y="141283"/>
                    </a:cubicBezTo>
                    <a:cubicBezTo>
                      <a:pt x="83123" y="141283"/>
                      <a:pt x="104237" y="121446"/>
                      <a:pt x="104237" y="78232"/>
                    </a:cubicBezTo>
                    <a:cubicBezTo>
                      <a:pt x="104237" y="35018"/>
                      <a:pt x="86166" y="15181"/>
                      <a:pt x="61058" y="15181"/>
                    </a:cubicBezTo>
                    <a:close/>
                  </a:path>
                </a:pathLst>
              </a:custGeom>
              <a:grpFill/>
              <a:ln w="9503" cap="flat">
                <a:noFill/>
                <a:prstDash val="solid"/>
                <a:miter/>
              </a:ln>
            </p:spPr>
            <p:txBody>
              <a:bodyPr rtlCol="0" anchor="ctr"/>
              <a:lstStyle/>
              <a:p>
                <a:endParaRPr lang="en-DK"/>
              </a:p>
            </p:txBody>
          </p:sp>
          <p:sp>
            <p:nvSpPr>
              <p:cNvPr id="24" name="Freeform 23">
                <a:extLst>
                  <a:ext uri="{FF2B5EF4-FFF2-40B4-BE49-F238E27FC236}">
                    <a16:creationId xmlns:a16="http://schemas.microsoft.com/office/drawing/2014/main" id="{4957433E-F22D-7F26-91FB-EC024ABBB1FA}"/>
                  </a:ext>
                </a:extLst>
              </p:cNvPr>
              <p:cNvSpPr/>
              <p:nvPr/>
            </p:nvSpPr>
            <p:spPr>
              <a:xfrm>
                <a:off x="4752813" y="3351978"/>
                <a:ext cx="136762" cy="156743"/>
              </a:xfrm>
              <a:custGeom>
                <a:avLst/>
                <a:gdLst>
                  <a:gd name="connsiteX0" fmla="*/ 68381 w 136762"/>
                  <a:gd name="connsiteY0" fmla="*/ 156743 h 156743"/>
                  <a:gd name="connsiteX1" fmla="*/ 0 w 136762"/>
                  <a:gd name="connsiteY1" fmla="*/ 77766 h 156743"/>
                  <a:gd name="connsiteX2" fmla="*/ 68381 w 136762"/>
                  <a:gd name="connsiteY2" fmla="*/ 0 h 156743"/>
                  <a:gd name="connsiteX3" fmla="*/ 136763 w 136762"/>
                  <a:gd name="connsiteY3" fmla="*/ 77766 h 156743"/>
                  <a:gd name="connsiteX4" fmla="*/ 68381 w 136762"/>
                  <a:gd name="connsiteY4" fmla="*/ 156743 h 156743"/>
                  <a:gd name="connsiteX5" fmla="*/ 68381 w 136762"/>
                  <a:gd name="connsiteY5" fmla="*/ 15367 h 156743"/>
                  <a:gd name="connsiteX6" fmla="*/ 19687 w 136762"/>
                  <a:gd name="connsiteY6" fmla="*/ 77766 h 156743"/>
                  <a:gd name="connsiteX7" fmla="*/ 68381 w 136762"/>
                  <a:gd name="connsiteY7" fmla="*/ 141376 h 156743"/>
                  <a:gd name="connsiteX8" fmla="*/ 117076 w 136762"/>
                  <a:gd name="connsiteY8" fmla="*/ 77766 h 156743"/>
                  <a:gd name="connsiteX9" fmla="*/ 68381 w 136762"/>
                  <a:gd name="connsiteY9" fmla="*/ 15367 h 15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2" h="156743">
                    <a:moveTo>
                      <a:pt x="68381" y="156743"/>
                    </a:moveTo>
                    <a:cubicBezTo>
                      <a:pt x="21494" y="156743"/>
                      <a:pt x="0" y="120701"/>
                      <a:pt x="0" y="77766"/>
                    </a:cubicBezTo>
                    <a:cubicBezTo>
                      <a:pt x="0" y="34832"/>
                      <a:pt x="22635" y="0"/>
                      <a:pt x="68381" y="0"/>
                    </a:cubicBezTo>
                    <a:cubicBezTo>
                      <a:pt x="114128" y="0"/>
                      <a:pt x="136763" y="36043"/>
                      <a:pt x="136763" y="77766"/>
                    </a:cubicBezTo>
                    <a:cubicBezTo>
                      <a:pt x="136763" y="119490"/>
                      <a:pt x="116220" y="156743"/>
                      <a:pt x="68381" y="156743"/>
                    </a:cubicBezTo>
                    <a:close/>
                    <a:moveTo>
                      <a:pt x="68381" y="15367"/>
                    </a:moveTo>
                    <a:cubicBezTo>
                      <a:pt x="36806" y="15367"/>
                      <a:pt x="19687" y="41817"/>
                      <a:pt x="19687" y="77766"/>
                    </a:cubicBezTo>
                    <a:cubicBezTo>
                      <a:pt x="19687" y="113716"/>
                      <a:pt x="35665" y="141376"/>
                      <a:pt x="68381" y="141376"/>
                    </a:cubicBezTo>
                    <a:cubicBezTo>
                      <a:pt x="101098" y="141376"/>
                      <a:pt x="117076" y="114088"/>
                      <a:pt x="117076" y="77766"/>
                    </a:cubicBezTo>
                    <a:cubicBezTo>
                      <a:pt x="117076" y="41444"/>
                      <a:pt x="100813" y="15367"/>
                      <a:pt x="68381" y="15367"/>
                    </a:cubicBezTo>
                    <a:close/>
                  </a:path>
                </a:pathLst>
              </a:custGeom>
              <a:grpFill/>
              <a:ln w="9503" cap="flat">
                <a:noFill/>
                <a:prstDash val="solid"/>
                <a:miter/>
              </a:ln>
            </p:spPr>
            <p:txBody>
              <a:bodyPr rtlCol="0" anchor="ctr"/>
              <a:lstStyle/>
              <a:p>
                <a:endParaRPr lang="en-DK"/>
              </a:p>
            </p:txBody>
          </p:sp>
          <p:sp>
            <p:nvSpPr>
              <p:cNvPr id="25" name="Freeform 24">
                <a:extLst>
                  <a:ext uri="{FF2B5EF4-FFF2-40B4-BE49-F238E27FC236}">
                    <a16:creationId xmlns:a16="http://schemas.microsoft.com/office/drawing/2014/main" id="{05FA1B1A-77F0-00FF-3BD2-C934E7BED1E1}"/>
                  </a:ext>
                </a:extLst>
              </p:cNvPr>
              <p:cNvSpPr/>
              <p:nvPr/>
            </p:nvSpPr>
            <p:spPr>
              <a:xfrm>
                <a:off x="4912686" y="3355331"/>
                <a:ext cx="210089" cy="150037"/>
              </a:xfrm>
              <a:custGeom>
                <a:avLst/>
                <a:gdLst>
                  <a:gd name="connsiteX0" fmla="*/ 165390 w 210089"/>
                  <a:gd name="connsiteY0" fmla="*/ 150038 h 150037"/>
                  <a:gd name="connsiteX1" fmla="*/ 141518 w 210089"/>
                  <a:gd name="connsiteY1" fmla="*/ 150038 h 150037"/>
                  <a:gd name="connsiteX2" fmla="*/ 115174 w 210089"/>
                  <a:gd name="connsiteY2" fmla="*/ 60909 h 150037"/>
                  <a:gd name="connsiteX3" fmla="*/ 105092 w 210089"/>
                  <a:gd name="connsiteY3" fmla="*/ 23376 h 150037"/>
                  <a:gd name="connsiteX4" fmla="*/ 95011 w 210089"/>
                  <a:gd name="connsiteY4" fmla="*/ 60909 h 150037"/>
                  <a:gd name="connsiteX5" fmla="*/ 67716 w 210089"/>
                  <a:gd name="connsiteY5" fmla="*/ 150038 h 150037"/>
                  <a:gd name="connsiteX6" fmla="*/ 44129 w 210089"/>
                  <a:gd name="connsiteY6" fmla="*/ 150038 h 150037"/>
                  <a:gd name="connsiteX7" fmla="*/ 0 w 210089"/>
                  <a:gd name="connsiteY7" fmla="*/ 0 h 150037"/>
                  <a:gd name="connsiteX8" fmla="*/ 19877 w 210089"/>
                  <a:gd name="connsiteY8" fmla="*/ 0 h 150037"/>
                  <a:gd name="connsiteX9" fmla="*/ 48029 w 210089"/>
                  <a:gd name="connsiteY9" fmla="*/ 95741 h 150037"/>
                  <a:gd name="connsiteX10" fmla="*/ 56588 w 210089"/>
                  <a:gd name="connsiteY10" fmla="*/ 129921 h 150037"/>
                  <a:gd name="connsiteX11" fmla="*/ 65814 w 210089"/>
                  <a:gd name="connsiteY11" fmla="*/ 95741 h 150037"/>
                  <a:gd name="connsiteX12" fmla="*/ 94631 w 210089"/>
                  <a:gd name="connsiteY12" fmla="*/ 0 h 150037"/>
                  <a:gd name="connsiteX13" fmla="*/ 116410 w 210089"/>
                  <a:gd name="connsiteY13" fmla="*/ 0 h 150037"/>
                  <a:gd name="connsiteX14" fmla="*/ 145227 w 210089"/>
                  <a:gd name="connsiteY14" fmla="*/ 95741 h 150037"/>
                  <a:gd name="connsiteX15" fmla="*/ 154072 w 210089"/>
                  <a:gd name="connsiteY15" fmla="*/ 129921 h 150037"/>
                  <a:gd name="connsiteX16" fmla="*/ 162917 w 210089"/>
                  <a:gd name="connsiteY16" fmla="*/ 95741 h 150037"/>
                  <a:gd name="connsiteX17" fmla="*/ 191734 w 210089"/>
                  <a:gd name="connsiteY17" fmla="*/ 0 h 150037"/>
                  <a:gd name="connsiteX18" fmla="*/ 210090 w 210089"/>
                  <a:gd name="connsiteY18" fmla="*/ 0 h 150037"/>
                  <a:gd name="connsiteX19" fmla="*/ 165295 w 210089"/>
                  <a:gd name="connsiteY19" fmla="*/ 150038 h 15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089" h="150037">
                    <a:moveTo>
                      <a:pt x="165390" y="150038"/>
                    </a:moveTo>
                    <a:lnTo>
                      <a:pt x="141518" y="150038"/>
                    </a:lnTo>
                    <a:lnTo>
                      <a:pt x="115174" y="60909"/>
                    </a:lnTo>
                    <a:cubicBezTo>
                      <a:pt x="111179" y="47125"/>
                      <a:pt x="105092" y="23376"/>
                      <a:pt x="105092" y="23376"/>
                    </a:cubicBezTo>
                    <a:cubicBezTo>
                      <a:pt x="105092" y="23376"/>
                      <a:pt x="99291" y="46474"/>
                      <a:pt x="95011" y="60909"/>
                    </a:cubicBezTo>
                    <a:lnTo>
                      <a:pt x="67716" y="150038"/>
                    </a:lnTo>
                    <a:lnTo>
                      <a:pt x="44129" y="150038"/>
                    </a:lnTo>
                    <a:lnTo>
                      <a:pt x="0" y="0"/>
                    </a:lnTo>
                    <a:lnTo>
                      <a:pt x="19877" y="0"/>
                    </a:lnTo>
                    <a:lnTo>
                      <a:pt x="48029" y="95741"/>
                    </a:lnTo>
                    <a:cubicBezTo>
                      <a:pt x="51738" y="108314"/>
                      <a:pt x="56588" y="129921"/>
                      <a:pt x="56588" y="129921"/>
                    </a:cubicBezTo>
                    <a:cubicBezTo>
                      <a:pt x="56588" y="129921"/>
                      <a:pt x="62104" y="108314"/>
                      <a:pt x="65814" y="95741"/>
                    </a:cubicBezTo>
                    <a:lnTo>
                      <a:pt x="94631" y="0"/>
                    </a:lnTo>
                    <a:lnTo>
                      <a:pt x="116410" y="0"/>
                    </a:lnTo>
                    <a:lnTo>
                      <a:pt x="145227" y="95741"/>
                    </a:lnTo>
                    <a:cubicBezTo>
                      <a:pt x="149222" y="109245"/>
                      <a:pt x="154072" y="129921"/>
                      <a:pt x="154072" y="129921"/>
                    </a:cubicBezTo>
                    <a:cubicBezTo>
                      <a:pt x="154072" y="129921"/>
                      <a:pt x="159018" y="108873"/>
                      <a:pt x="162917" y="95741"/>
                    </a:cubicBezTo>
                    <a:lnTo>
                      <a:pt x="191734" y="0"/>
                    </a:lnTo>
                    <a:lnTo>
                      <a:pt x="210090" y="0"/>
                    </a:lnTo>
                    <a:lnTo>
                      <a:pt x="165295" y="150038"/>
                    </a:lnTo>
                    <a:close/>
                  </a:path>
                </a:pathLst>
              </a:custGeom>
              <a:grpFill/>
              <a:ln w="9503" cap="flat">
                <a:noFill/>
                <a:prstDash val="solid"/>
                <a:miter/>
              </a:ln>
            </p:spPr>
            <p:txBody>
              <a:bodyPr rtlCol="0" anchor="ctr"/>
              <a:lstStyle/>
              <a:p>
                <a:endParaRPr lang="en-DK"/>
              </a:p>
            </p:txBody>
          </p:sp>
          <p:sp>
            <p:nvSpPr>
              <p:cNvPr id="26" name="Freeform 25">
                <a:extLst>
                  <a:ext uri="{FF2B5EF4-FFF2-40B4-BE49-F238E27FC236}">
                    <a16:creationId xmlns:a16="http://schemas.microsoft.com/office/drawing/2014/main" id="{7B63DD9F-F0B4-48B7-F034-6EA4027A2D88}"/>
                  </a:ext>
                </a:extLst>
              </p:cNvPr>
              <p:cNvSpPr/>
              <p:nvPr/>
            </p:nvSpPr>
            <p:spPr>
              <a:xfrm>
                <a:off x="5146838"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27" name="Freeform 26">
                <a:extLst>
                  <a:ext uri="{FF2B5EF4-FFF2-40B4-BE49-F238E27FC236}">
                    <a16:creationId xmlns:a16="http://schemas.microsoft.com/office/drawing/2014/main" id="{73C5BB2C-B6B7-7CDD-5797-700C224EE123}"/>
                  </a:ext>
                </a:extLst>
              </p:cNvPr>
              <p:cNvSpPr/>
              <p:nvPr/>
            </p:nvSpPr>
            <p:spPr>
              <a:xfrm>
                <a:off x="5314796" y="3351978"/>
                <a:ext cx="81506" cy="153390"/>
              </a:xfrm>
              <a:custGeom>
                <a:avLst/>
                <a:gdLst>
                  <a:gd name="connsiteX0" fmla="*/ 76370 w 81506"/>
                  <a:gd name="connsiteY0" fmla="*/ 21700 h 153390"/>
                  <a:gd name="connsiteX1" fmla="*/ 59822 w 81506"/>
                  <a:gd name="connsiteY1" fmla="*/ 17509 h 153390"/>
                  <a:gd name="connsiteX2" fmla="*/ 19687 w 81506"/>
                  <a:gd name="connsiteY2" fmla="*/ 46287 h 153390"/>
                  <a:gd name="connsiteX3" fmla="*/ 19687 w 81506"/>
                  <a:gd name="connsiteY3" fmla="*/ 153391 h 153390"/>
                  <a:gd name="connsiteX4" fmla="*/ 951 w 81506"/>
                  <a:gd name="connsiteY4" fmla="*/ 153391 h 153390"/>
                  <a:gd name="connsiteX5" fmla="*/ 951 w 81506"/>
                  <a:gd name="connsiteY5" fmla="*/ 30641 h 153390"/>
                  <a:gd name="connsiteX6" fmla="*/ 0 w 81506"/>
                  <a:gd name="connsiteY6" fmla="*/ 3353 h 153390"/>
                  <a:gd name="connsiteX7" fmla="*/ 15027 w 81506"/>
                  <a:gd name="connsiteY7" fmla="*/ 3353 h 153390"/>
                  <a:gd name="connsiteX8" fmla="*/ 16834 w 81506"/>
                  <a:gd name="connsiteY8" fmla="*/ 28219 h 153390"/>
                  <a:gd name="connsiteX9" fmla="*/ 63721 w 81506"/>
                  <a:gd name="connsiteY9" fmla="*/ 0 h 153390"/>
                  <a:gd name="connsiteX10" fmla="*/ 81506 w 81506"/>
                  <a:gd name="connsiteY10" fmla="*/ 2701 h 153390"/>
                  <a:gd name="connsiteX11" fmla="*/ 76275 w 81506"/>
                  <a:gd name="connsiteY11" fmla="*/ 21607 h 15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506" h="153390">
                    <a:moveTo>
                      <a:pt x="76370" y="21700"/>
                    </a:moveTo>
                    <a:cubicBezTo>
                      <a:pt x="71425" y="18999"/>
                      <a:pt x="66289" y="17509"/>
                      <a:pt x="59822" y="17509"/>
                    </a:cubicBezTo>
                    <a:cubicBezTo>
                      <a:pt x="41086" y="17509"/>
                      <a:pt x="29768" y="28871"/>
                      <a:pt x="19687" y="46287"/>
                    </a:cubicBezTo>
                    <a:lnTo>
                      <a:pt x="19687" y="153391"/>
                    </a:lnTo>
                    <a:lnTo>
                      <a:pt x="951" y="153391"/>
                    </a:lnTo>
                    <a:lnTo>
                      <a:pt x="951" y="30641"/>
                    </a:lnTo>
                    <a:cubicBezTo>
                      <a:pt x="951" y="25519"/>
                      <a:pt x="380" y="8475"/>
                      <a:pt x="0" y="3353"/>
                    </a:cubicBezTo>
                    <a:lnTo>
                      <a:pt x="15027" y="3353"/>
                    </a:lnTo>
                    <a:lnTo>
                      <a:pt x="16834" y="28219"/>
                    </a:lnTo>
                    <a:cubicBezTo>
                      <a:pt x="26059" y="11083"/>
                      <a:pt x="41371" y="0"/>
                      <a:pt x="63721" y="0"/>
                    </a:cubicBezTo>
                    <a:cubicBezTo>
                      <a:pt x="70189" y="0"/>
                      <a:pt x="76275" y="931"/>
                      <a:pt x="81506" y="2701"/>
                    </a:cubicBezTo>
                    <a:lnTo>
                      <a:pt x="76275" y="21607"/>
                    </a:lnTo>
                    <a:close/>
                  </a:path>
                </a:pathLst>
              </a:custGeom>
              <a:grpFill/>
              <a:ln w="9503" cap="flat">
                <a:noFill/>
                <a:prstDash val="solid"/>
                <a:miter/>
              </a:ln>
            </p:spPr>
            <p:txBody>
              <a:bodyPr rtlCol="0" anchor="ctr"/>
              <a:lstStyle/>
              <a:p>
                <a:endParaRPr lang="en-DK"/>
              </a:p>
            </p:txBody>
          </p:sp>
          <p:sp>
            <p:nvSpPr>
              <p:cNvPr id="28" name="Freeform 27">
                <a:extLst>
                  <a:ext uri="{FF2B5EF4-FFF2-40B4-BE49-F238E27FC236}">
                    <a16:creationId xmlns:a16="http://schemas.microsoft.com/office/drawing/2014/main" id="{6243E384-8FC3-EE96-2F82-3DDD5F678124}"/>
                  </a:ext>
                </a:extLst>
              </p:cNvPr>
              <p:cNvSpPr/>
              <p:nvPr/>
            </p:nvSpPr>
            <p:spPr>
              <a:xfrm>
                <a:off x="5510715" y="3289300"/>
                <a:ext cx="123923" cy="219422"/>
              </a:xfrm>
              <a:custGeom>
                <a:avLst/>
                <a:gdLst>
                  <a:gd name="connsiteX0" fmla="*/ 63436 w 123923"/>
                  <a:gd name="connsiteY0" fmla="*/ 219422 h 219422"/>
                  <a:gd name="connsiteX1" fmla="*/ 17119 w 123923"/>
                  <a:gd name="connsiteY1" fmla="*/ 199026 h 219422"/>
                  <a:gd name="connsiteX2" fmla="*/ 15597 w 123923"/>
                  <a:gd name="connsiteY2" fmla="*/ 216162 h 219422"/>
                  <a:gd name="connsiteX3" fmla="*/ 0 w 123923"/>
                  <a:gd name="connsiteY3" fmla="*/ 216162 h 219422"/>
                  <a:gd name="connsiteX4" fmla="*/ 951 w 123923"/>
                  <a:gd name="connsiteY4" fmla="*/ 187943 h 219422"/>
                  <a:gd name="connsiteX5" fmla="*/ 951 w 123923"/>
                  <a:gd name="connsiteY5" fmla="*/ 0 h 219422"/>
                  <a:gd name="connsiteX6" fmla="*/ 19687 w 123923"/>
                  <a:gd name="connsiteY6" fmla="*/ 0 h 219422"/>
                  <a:gd name="connsiteX7" fmla="*/ 19687 w 123923"/>
                  <a:gd name="connsiteY7" fmla="*/ 86707 h 219422"/>
                  <a:gd name="connsiteX8" fmla="*/ 65053 w 123923"/>
                  <a:gd name="connsiteY8" fmla="*/ 62679 h 219422"/>
                  <a:gd name="connsiteX9" fmla="*/ 123924 w 123923"/>
                  <a:gd name="connsiteY9" fmla="*/ 140445 h 219422"/>
                  <a:gd name="connsiteX10" fmla="*/ 63531 w 123923"/>
                  <a:gd name="connsiteY10" fmla="*/ 219422 h 219422"/>
                  <a:gd name="connsiteX11" fmla="*/ 60963 w 123923"/>
                  <a:gd name="connsiteY11" fmla="*/ 78046 h 219422"/>
                  <a:gd name="connsiteX12" fmla="*/ 19592 w 123923"/>
                  <a:gd name="connsiteY12" fmla="*/ 105334 h 219422"/>
                  <a:gd name="connsiteX13" fmla="*/ 19592 w 123923"/>
                  <a:gd name="connsiteY13" fmla="*/ 186080 h 219422"/>
                  <a:gd name="connsiteX14" fmla="*/ 58776 w 123923"/>
                  <a:gd name="connsiteY14" fmla="*/ 204055 h 219422"/>
                  <a:gd name="connsiteX15" fmla="*/ 104141 w 123923"/>
                  <a:gd name="connsiteY15" fmla="*/ 141004 h 219422"/>
                  <a:gd name="connsiteX16" fmla="*/ 60963 w 123923"/>
                  <a:gd name="connsiteY16" fmla="*/ 77953 h 21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923" h="219422">
                    <a:moveTo>
                      <a:pt x="63436" y="219422"/>
                    </a:moveTo>
                    <a:cubicBezTo>
                      <a:pt x="41086" y="219422"/>
                      <a:pt x="27010" y="211040"/>
                      <a:pt x="17119" y="199026"/>
                    </a:cubicBezTo>
                    <a:lnTo>
                      <a:pt x="15597" y="216162"/>
                    </a:lnTo>
                    <a:lnTo>
                      <a:pt x="0" y="216162"/>
                    </a:lnTo>
                    <a:cubicBezTo>
                      <a:pt x="285" y="209550"/>
                      <a:pt x="951" y="195114"/>
                      <a:pt x="951" y="187943"/>
                    </a:cubicBezTo>
                    <a:lnTo>
                      <a:pt x="951" y="0"/>
                    </a:lnTo>
                    <a:lnTo>
                      <a:pt x="19687" y="0"/>
                    </a:lnTo>
                    <a:lnTo>
                      <a:pt x="19687" y="86707"/>
                    </a:lnTo>
                    <a:cubicBezTo>
                      <a:pt x="27961" y="75904"/>
                      <a:pt x="40801" y="62679"/>
                      <a:pt x="65053" y="62679"/>
                    </a:cubicBezTo>
                    <a:cubicBezTo>
                      <a:pt x="100908" y="62679"/>
                      <a:pt x="123924" y="92668"/>
                      <a:pt x="123924" y="140445"/>
                    </a:cubicBezTo>
                    <a:cubicBezTo>
                      <a:pt x="123924" y="184311"/>
                      <a:pt x="103381" y="219422"/>
                      <a:pt x="63531" y="219422"/>
                    </a:cubicBezTo>
                    <a:close/>
                    <a:moveTo>
                      <a:pt x="60963" y="78046"/>
                    </a:moveTo>
                    <a:cubicBezTo>
                      <a:pt x="39849" y="78046"/>
                      <a:pt x="26059" y="95462"/>
                      <a:pt x="19592" y="105334"/>
                    </a:cubicBezTo>
                    <a:lnTo>
                      <a:pt x="19592" y="186080"/>
                    </a:lnTo>
                    <a:cubicBezTo>
                      <a:pt x="29673" y="196325"/>
                      <a:pt x="39849" y="204055"/>
                      <a:pt x="58776" y="204055"/>
                    </a:cubicBezTo>
                    <a:cubicBezTo>
                      <a:pt x="85405" y="204055"/>
                      <a:pt x="104141" y="180679"/>
                      <a:pt x="104141" y="141004"/>
                    </a:cubicBezTo>
                    <a:cubicBezTo>
                      <a:pt x="104141" y="93878"/>
                      <a:pt x="82647" y="77953"/>
                      <a:pt x="60963" y="77953"/>
                    </a:cubicBezTo>
                    <a:close/>
                  </a:path>
                </a:pathLst>
              </a:custGeom>
              <a:grpFill/>
              <a:ln w="9503" cap="flat">
                <a:noFill/>
                <a:prstDash val="solid"/>
                <a:miter/>
              </a:ln>
            </p:spPr>
            <p:txBody>
              <a:bodyPr rtlCol="0" anchor="ctr"/>
              <a:lstStyle/>
              <a:p>
                <a:endParaRPr lang="en-DK"/>
              </a:p>
            </p:txBody>
          </p:sp>
          <p:sp>
            <p:nvSpPr>
              <p:cNvPr id="29" name="Freeform 28">
                <a:extLst>
                  <a:ext uri="{FF2B5EF4-FFF2-40B4-BE49-F238E27FC236}">
                    <a16:creationId xmlns:a16="http://schemas.microsoft.com/office/drawing/2014/main" id="{657252B8-62B4-390A-21E7-59E0768D4B42}"/>
                  </a:ext>
                </a:extLst>
              </p:cNvPr>
              <p:cNvSpPr/>
              <p:nvPr/>
            </p:nvSpPr>
            <p:spPr>
              <a:xfrm>
                <a:off x="5668021" y="3352071"/>
                <a:ext cx="128108" cy="156650"/>
              </a:xfrm>
              <a:custGeom>
                <a:avLst/>
                <a:gdLst>
                  <a:gd name="connsiteX0" fmla="*/ 19877 w 128108"/>
                  <a:gd name="connsiteY0" fmla="*/ 84006 h 156650"/>
                  <a:gd name="connsiteX1" fmla="*/ 70759 w 128108"/>
                  <a:gd name="connsiteY1" fmla="*/ 141004 h 156650"/>
                  <a:gd name="connsiteX2" fmla="*/ 113937 w 128108"/>
                  <a:gd name="connsiteY2" fmla="*/ 125730 h 156650"/>
                  <a:gd name="connsiteX3" fmla="*/ 123163 w 128108"/>
                  <a:gd name="connsiteY3" fmla="*/ 138303 h 156650"/>
                  <a:gd name="connsiteX4" fmla="*/ 70759 w 128108"/>
                  <a:gd name="connsiteY4" fmla="*/ 156650 h 156650"/>
                  <a:gd name="connsiteX5" fmla="*/ 0 w 128108"/>
                  <a:gd name="connsiteY5" fmla="*/ 79815 h 156650"/>
                  <a:gd name="connsiteX6" fmla="*/ 65623 w 128108"/>
                  <a:gd name="connsiteY6" fmla="*/ 0 h 156650"/>
                  <a:gd name="connsiteX7" fmla="*/ 128108 w 128108"/>
                  <a:gd name="connsiteY7" fmla="*/ 84006 h 156650"/>
                  <a:gd name="connsiteX8" fmla="*/ 19877 w 128108"/>
                  <a:gd name="connsiteY8" fmla="*/ 84006 h 156650"/>
                  <a:gd name="connsiteX9" fmla="*/ 65528 w 128108"/>
                  <a:gd name="connsiteY9" fmla="*/ 14994 h 156650"/>
                  <a:gd name="connsiteX10" fmla="*/ 19877 w 128108"/>
                  <a:gd name="connsiteY10" fmla="*/ 69012 h 156650"/>
                  <a:gd name="connsiteX11" fmla="*/ 108802 w 128108"/>
                  <a:gd name="connsiteY11" fmla="*/ 69012 h 156650"/>
                  <a:gd name="connsiteX12" fmla="*/ 65623 w 128108"/>
                  <a:gd name="connsiteY12" fmla="*/ 14994 h 15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08" h="156650">
                    <a:moveTo>
                      <a:pt x="19877" y="84006"/>
                    </a:moveTo>
                    <a:cubicBezTo>
                      <a:pt x="21399" y="122377"/>
                      <a:pt x="44700" y="141004"/>
                      <a:pt x="70759" y="141004"/>
                    </a:cubicBezTo>
                    <a:cubicBezTo>
                      <a:pt x="88829" y="141004"/>
                      <a:pt x="103285" y="133833"/>
                      <a:pt x="113937" y="125730"/>
                    </a:cubicBezTo>
                    <a:lnTo>
                      <a:pt x="123163" y="138303"/>
                    </a:lnTo>
                    <a:cubicBezTo>
                      <a:pt x="109087" y="149106"/>
                      <a:pt x="92824" y="156650"/>
                      <a:pt x="70759" y="156650"/>
                    </a:cubicBezTo>
                    <a:cubicBezTo>
                      <a:pt x="30910" y="156650"/>
                      <a:pt x="0" y="129642"/>
                      <a:pt x="0" y="79815"/>
                    </a:cubicBezTo>
                    <a:cubicBezTo>
                      <a:pt x="0" y="26077"/>
                      <a:pt x="31575" y="0"/>
                      <a:pt x="65623" y="0"/>
                    </a:cubicBezTo>
                    <a:cubicBezTo>
                      <a:pt x="113747" y="0"/>
                      <a:pt x="128108" y="36881"/>
                      <a:pt x="128108" y="84006"/>
                    </a:cubicBezTo>
                    <a:lnTo>
                      <a:pt x="19877" y="84006"/>
                    </a:lnTo>
                    <a:close/>
                    <a:moveTo>
                      <a:pt x="65528" y="14994"/>
                    </a:moveTo>
                    <a:cubicBezTo>
                      <a:pt x="40991" y="14994"/>
                      <a:pt x="22350" y="32969"/>
                      <a:pt x="19877" y="69012"/>
                    </a:cubicBezTo>
                    <a:lnTo>
                      <a:pt x="108802" y="69012"/>
                    </a:lnTo>
                    <a:cubicBezTo>
                      <a:pt x="108231" y="32690"/>
                      <a:pt x="92824" y="14994"/>
                      <a:pt x="65623" y="14994"/>
                    </a:cubicBezTo>
                    <a:close/>
                  </a:path>
                </a:pathLst>
              </a:custGeom>
              <a:grpFill/>
              <a:ln w="9503" cap="flat">
                <a:noFill/>
                <a:prstDash val="solid"/>
                <a:miter/>
              </a:ln>
            </p:spPr>
            <p:txBody>
              <a:bodyPr rtlCol="0" anchor="ctr"/>
              <a:lstStyle/>
              <a:p>
                <a:endParaRPr lang="en-DK"/>
              </a:p>
            </p:txBody>
          </p:sp>
          <p:sp>
            <p:nvSpPr>
              <p:cNvPr id="30" name="Freeform 29">
                <a:extLst>
                  <a:ext uri="{FF2B5EF4-FFF2-40B4-BE49-F238E27FC236}">
                    <a16:creationId xmlns:a16="http://schemas.microsoft.com/office/drawing/2014/main" id="{B960E4B3-C3D2-06A5-8B9B-03B3C31CB6DD}"/>
                  </a:ext>
                </a:extLst>
              </p:cNvPr>
              <p:cNvSpPr/>
              <p:nvPr/>
            </p:nvSpPr>
            <p:spPr>
              <a:xfrm>
                <a:off x="5836835" y="3289300"/>
                <a:ext cx="113461" cy="216162"/>
              </a:xfrm>
              <a:custGeom>
                <a:avLst/>
                <a:gdLst>
                  <a:gd name="connsiteX0" fmla="*/ 94726 w 113461"/>
                  <a:gd name="connsiteY0" fmla="*/ 216069 h 216162"/>
                  <a:gd name="connsiteX1" fmla="*/ 94726 w 113461"/>
                  <a:gd name="connsiteY1" fmla="*/ 120701 h 216162"/>
                  <a:gd name="connsiteX2" fmla="*/ 58586 w 113461"/>
                  <a:gd name="connsiteY2" fmla="*/ 78418 h 216162"/>
                  <a:gd name="connsiteX3" fmla="*/ 18736 w 113461"/>
                  <a:gd name="connsiteY3" fmla="*/ 102726 h 216162"/>
                  <a:gd name="connsiteX4" fmla="*/ 18736 w 113461"/>
                  <a:gd name="connsiteY4" fmla="*/ 216162 h 216162"/>
                  <a:gd name="connsiteX5" fmla="*/ 0 w 113461"/>
                  <a:gd name="connsiteY5" fmla="*/ 216162 h 216162"/>
                  <a:gd name="connsiteX6" fmla="*/ 0 w 113461"/>
                  <a:gd name="connsiteY6" fmla="*/ 0 h 216162"/>
                  <a:gd name="connsiteX7" fmla="*/ 18736 w 113461"/>
                  <a:gd name="connsiteY7" fmla="*/ 0 h 216162"/>
                  <a:gd name="connsiteX8" fmla="*/ 18736 w 113461"/>
                  <a:gd name="connsiteY8" fmla="*/ 84658 h 216162"/>
                  <a:gd name="connsiteX9" fmla="*/ 62580 w 113461"/>
                  <a:gd name="connsiteY9" fmla="*/ 62772 h 216162"/>
                  <a:gd name="connsiteX10" fmla="*/ 113462 w 113461"/>
                  <a:gd name="connsiteY10" fmla="*/ 122191 h 216162"/>
                  <a:gd name="connsiteX11" fmla="*/ 113462 w 113461"/>
                  <a:gd name="connsiteY11" fmla="*/ 216162 h 216162"/>
                  <a:gd name="connsiteX12" fmla="*/ 94726 w 113461"/>
                  <a:gd name="connsiteY12" fmla="*/ 216162 h 21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461" h="216162">
                    <a:moveTo>
                      <a:pt x="94726" y="216069"/>
                    </a:moveTo>
                    <a:lnTo>
                      <a:pt x="94726" y="120701"/>
                    </a:lnTo>
                    <a:cubicBezTo>
                      <a:pt x="94726" y="93133"/>
                      <a:pt x="83694" y="78418"/>
                      <a:pt x="58586" y="78418"/>
                    </a:cubicBezTo>
                    <a:cubicBezTo>
                      <a:pt x="39850" y="78418"/>
                      <a:pt x="26725" y="90991"/>
                      <a:pt x="18736" y="102726"/>
                    </a:cubicBezTo>
                    <a:lnTo>
                      <a:pt x="18736" y="216162"/>
                    </a:lnTo>
                    <a:lnTo>
                      <a:pt x="0" y="216162"/>
                    </a:lnTo>
                    <a:lnTo>
                      <a:pt x="0" y="0"/>
                    </a:lnTo>
                    <a:lnTo>
                      <a:pt x="18736" y="0"/>
                    </a:lnTo>
                    <a:lnTo>
                      <a:pt x="18736" y="84658"/>
                    </a:lnTo>
                    <a:cubicBezTo>
                      <a:pt x="28532" y="71713"/>
                      <a:pt x="43844" y="62772"/>
                      <a:pt x="62580" y="62772"/>
                    </a:cubicBezTo>
                    <a:cubicBezTo>
                      <a:pt x="101193" y="62772"/>
                      <a:pt x="113462" y="86800"/>
                      <a:pt x="113462" y="122191"/>
                    </a:cubicBezTo>
                    <a:lnTo>
                      <a:pt x="113462" y="216162"/>
                    </a:lnTo>
                    <a:lnTo>
                      <a:pt x="94726" y="216162"/>
                    </a:lnTo>
                    <a:close/>
                  </a:path>
                </a:pathLst>
              </a:custGeom>
              <a:grpFill/>
              <a:ln w="9503" cap="flat">
                <a:noFill/>
                <a:prstDash val="solid"/>
                <a:miter/>
              </a:ln>
            </p:spPr>
            <p:txBody>
              <a:bodyPr rtlCol="0" anchor="ctr"/>
              <a:lstStyle/>
              <a:p>
                <a:endParaRPr lang="en-DK"/>
              </a:p>
            </p:txBody>
          </p:sp>
          <p:sp>
            <p:nvSpPr>
              <p:cNvPr id="31" name="Freeform 30">
                <a:extLst>
                  <a:ext uri="{FF2B5EF4-FFF2-40B4-BE49-F238E27FC236}">
                    <a16:creationId xmlns:a16="http://schemas.microsoft.com/office/drawing/2014/main" id="{559287CD-C5CB-A6DA-1A5C-E24EEDD8DD8F}"/>
                  </a:ext>
                </a:extLst>
              </p:cNvPr>
              <p:cNvSpPr/>
              <p:nvPr/>
            </p:nvSpPr>
            <p:spPr>
              <a:xfrm>
                <a:off x="5999371" y="3289300"/>
                <a:ext cx="21779" cy="216069"/>
              </a:xfrm>
              <a:custGeom>
                <a:avLst/>
                <a:gdLst>
                  <a:gd name="connsiteX0" fmla="*/ 0 w 21779"/>
                  <a:gd name="connsiteY0" fmla="*/ 23097 h 216069"/>
                  <a:gd name="connsiteX1" fmla="*/ 0 w 21779"/>
                  <a:gd name="connsiteY1" fmla="*/ 0 h 216069"/>
                  <a:gd name="connsiteX2" fmla="*/ 21779 w 21779"/>
                  <a:gd name="connsiteY2" fmla="*/ 0 h 216069"/>
                  <a:gd name="connsiteX3" fmla="*/ 21779 w 21779"/>
                  <a:gd name="connsiteY3" fmla="*/ 23097 h 216069"/>
                  <a:gd name="connsiteX4" fmla="*/ 0 w 21779"/>
                  <a:gd name="connsiteY4" fmla="*/ 23097 h 216069"/>
                  <a:gd name="connsiteX5" fmla="*/ 1522 w 21779"/>
                  <a:gd name="connsiteY5" fmla="*/ 216069 h 216069"/>
                  <a:gd name="connsiteX6" fmla="*/ 1522 w 21779"/>
                  <a:gd name="connsiteY6" fmla="*/ 66032 h 216069"/>
                  <a:gd name="connsiteX7" fmla="*/ 20258 w 21779"/>
                  <a:gd name="connsiteY7" fmla="*/ 66032 h 216069"/>
                  <a:gd name="connsiteX8" fmla="*/ 20258 w 21779"/>
                  <a:gd name="connsiteY8" fmla="*/ 216069 h 216069"/>
                  <a:gd name="connsiteX9" fmla="*/ 1522 w 21779"/>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79" h="216069">
                    <a:moveTo>
                      <a:pt x="0" y="23097"/>
                    </a:moveTo>
                    <a:lnTo>
                      <a:pt x="0" y="0"/>
                    </a:lnTo>
                    <a:lnTo>
                      <a:pt x="21779" y="0"/>
                    </a:lnTo>
                    <a:lnTo>
                      <a:pt x="21779" y="23097"/>
                    </a:lnTo>
                    <a:lnTo>
                      <a:pt x="0" y="23097"/>
                    </a:lnTo>
                    <a:close/>
                    <a:moveTo>
                      <a:pt x="1522" y="216069"/>
                    </a:moveTo>
                    <a:lnTo>
                      <a:pt x="1522" y="66032"/>
                    </a:lnTo>
                    <a:lnTo>
                      <a:pt x="20258" y="66032"/>
                    </a:lnTo>
                    <a:lnTo>
                      <a:pt x="20258" y="216069"/>
                    </a:lnTo>
                    <a:lnTo>
                      <a:pt x="1522" y="216069"/>
                    </a:lnTo>
                    <a:close/>
                  </a:path>
                </a:pathLst>
              </a:custGeom>
              <a:grpFill/>
              <a:ln w="9503" cap="flat">
                <a:noFill/>
                <a:prstDash val="solid"/>
                <a:miter/>
              </a:ln>
            </p:spPr>
            <p:txBody>
              <a:bodyPr rtlCol="0" anchor="ctr"/>
              <a:lstStyle/>
              <a:p>
                <a:endParaRPr lang="en-DK"/>
              </a:p>
            </p:txBody>
          </p:sp>
          <p:sp>
            <p:nvSpPr>
              <p:cNvPr id="32" name="Freeform 31">
                <a:extLst>
                  <a:ext uri="{FF2B5EF4-FFF2-40B4-BE49-F238E27FC236}">
                    <a16:creationId xmlns:a16="http://schemas.microsoft.com/office/drawing/2014/main" id="{ACF1837D-4E66-2C5D-7D96-E7D8F510AF15}"/>
                  </a:ext>
                </a:extLst>
              </p:cNvPr>
              <p:cNvSpPr/>
              <p:nvPr/>
            </p:nvSpPr>
            <p:spPr>
              <a:xfrm>
                <a:off x="6069179" y="3351978"/>
                <a:ext cx="114222" cy="153390"/>
              </a:xfrm>
              <a:custGeom>
                <a:avLst/>
                <a:gdLst>
                  <a:gd name="connsiteX0" fmla="*/ 95677 w 114222"/>
                  <a:gd name="connsiteY0" fmla="*/ 153391 h 153390"/>
                  <a:gd name="connsiteX1" fmla="*/ 95677 w 114222"/>
                  <a:gd name="connsiteY1" fmla="*/ 58301 h 153390"/>
                  <a:gd name="connsiteX2" fmla="*/ 59537 w 114222"/>
                  <a:gd name="connsiteY2" fmla="*/ 15646 h 153390"/>
                  <a:gd name="connsiteX3" fmla="*/ 19687 w 114222"/>
                  <a:gd name="connsiteY3" fmla="*/ 39954 h 153390"/>
                  <a:gd name="connsiteX4" fmla="*/ 19687 w 114222"/>
                  <a:gd name="connsiteY4" fmla="*/ 153391 h 153390"/>
                  <a:gd name="connsiteX5" fmla="*/ 951 w 114222"/>
                  <a:gd name="connsiteY5" fmla="*/ 153391 h 153390"/>
                  <a:gd name="connsiteX6" fmla="*/ 951 w 114222"/>
                  <a:gd name="connsiteY6" fmla="*/ 30920 h 153390"/>
                  <a:gd name="connsiteX7" fmla="*/ 0 w 114222"/>
                  <a:gd name="connsiteY7" fmla="*/ 3353 h 153390"/>
                  <a:gd name="connsiteX8" fmla="*/ 15598 w 114222"/>
                  <a:gd name="connsiteY8" fmla="*/ 3353 h 153390"/>
                  <a:gd name="connsiteX9" fmla="*/ 17119 w 114222"/>
                  <a:gd name="connsiteY9" fmla="*/ 24028 h 153390"/>
                  <a:gd name="connsiteX10" fmla="*/ 63056 w 114222"/>
                  <a:gd name="connsiteY10" fmla="*/ 0 h 153390"/>
                  <a:gd name="connsiteX11" fmla="*/ 114223 w 114222"/>
                  <a:gd name="connsiteY11" fmla="*/ 59419 h 153390"/>
                  <a:gd name="connsiteX12" fmla="*/ 114223 w 114222"/>
                  <a:gd name="connsiteY12" fmla="*/ 153391 h 153390"/>
                  <a:gd name="connsiteX13" fmla="*/ 95487 w 114222"/>
                  <a:gd name="connsiteY13" fmla="*/ 153391 h 15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222" h="153390">
                    <a:moveTo>
                      <a:pt x="95677" y="153391"/>
                    </a:moveTo>
                    <a:lnTo>
                      <a:pt x="95677" y="58301"/>
                    </a:lnTo>
                    <a:cubicBezTo>
                      <a:pt x="95677" y="31013"/>
                      <a:pt x="84359" y="15646"/>
                      <a:pt x="59537" y="15646"/>
                    </a:cubicBezTo>
                    <a:cubicBezTo>
                      <a:pt x="39279" y="15646"/>
                      <a:pt x="27010" y="29151"/>
                      <a:pt x="19687" y="39954"/>
                    </a:cubicBezTo>
                    <a:lnTo>
                      <a:pt x="19687" y="153391"/>
                    </a:lnTo>
                    <a:lnTo>
                      <a:pt x="951" y="153391"/>
                    </a:lnTo>
                    <a:lnTo>
                      <a:pt x="951" y="30920"/>
                    </a:lnTo>
                    <a:cubicBezTo>
                      <a:pt x="951" y="25798"/>
                      <a:pt x="381" y="8382"/>
                      <a:pt x="0" y="3353"/>
                    </a:cubicBezTo>
                    <a:lnTo>
                      <a:pt x="15598" y="3353"/>
                    </a:lnTo>
                    <a:lnTo>
                      <a:pt x="17119" y="24028"/>
                    </a:lnTo>
                    <a:cubicBezTo>
                      <a:pt x="26344" y="10803"/>
                      <a:pt x="42513" y="0"/>
                      <a:pt x="63056" y="0"/>
                    </a:cubicBezTo>
                    <a:cubicBezTo>
                      <a:pt x="100432" y="0"/>
                      <a:pt x="114223" y="23097"/>
                      <a:pt x="114223" y="59419"/>
                    </a:cubicBezTo>
                    <a:lnTo>
                      <a:pt x="114223" y="153391"/>
                    </a:lnTo>
                    <a:lnTo>
                      <a:pt x="95487" y="153391"/>
                    </a:lnTo>
                    <a:close/>
                  </a:path>
                </a:pathLst>
              </a:custGeom>
              <a:grpFill/>
              <a:ln w="9503" cap="flat">
                <a:noFill/>
                <a:prstDash val="solid"/>
                <a:miter/>
              </a:ln>
            </p:spPr>
            <p:txBody>
              <a:bodyPr rtlCol="0" anchor="ctr"/>
              <a:lstStyle/>
              <a:p>
                <a:endParaRPr lang="en-DK"/>
              </a:p>
            </p:txBody>
          </p:sp>
          <p:sp>
            <p:nvSpPr>
              <p:cNvPr id="33" name="Freeform 32">
                <a:extLst>
                  <a:ext uri="{FF2B5EF4-FFF2-40B4-BE49-F238E27FC236}">
                    <a16:creationId xmlns:a16="http://schemas.microsoft.com/office/drawing/2014/main" id="{ABDDF7EE-ED2A-D177-4008-41EF5BD37A2F}"/>
                  </a:ext>
                </a:extLst>
              </p:cNvPr>
              <p:cNvSpPr/>
              <p:nvPr/>
            </p:nvSpPr>
            <p:spPr>
              <a:xfrm>
                <a:off x="6224013" y="3289300"/>
                <a:ext cx="125730" cy="219328"/>
              </a:xfrm>
              <a:custGeom>
                <a:avLst/>
                <a:gdLst>
                  <a:gd name="connsiteX0" fmla="*/ 109753 w 125730"/>
                  <a:gd name="connsiteY0" fmla="*/ 216069 h 219328"/>
                  <a:gd name="connsiteX1" fmla="*/ 108231 w 125730"/>
                  <a:gd name="connsiteY1" fmla="*/ 192320 h 219328"/>
                  <a:gd name="connsiteX2" fmla="*/ 60392 w 125730"/>
                  <a:gd name="connsiteY2" fmla="*/ 219329 h 219328"/>
                  <a:gd name="connsiteX3" fmla="*/ 0 w 125730"/>
                  <a:gd name="connsiteY3" fmla="*/ 140352 h 219328"/>
                  <a:gd name="connsiteX4" fmla="*/ 63151 w 125730"/>
                  <a:gd name="connsiteY4" fmla="*/ 62586 h 219328"/>
                  <a:gd name="connsiteX5" fmla="*/ 106044 w 125730"/>
                  <a:gd name="connsiteY5" fmla="*/ 79350 h 219328"/>
                  <a:gd name="connsiteX6" fmla="*/ 106044 w 125730"/>
                  <a:gd name="connsiteY6" fmla="*/ 0 h 219328"/>
                  <a:gd name="connsiteX7" fmla="*/ 124779 w 125730"/>
                  <a:gd name="connsiteY7" fmla="*/ 0 h 219328"/>
                  <a:gd name="connsiteX8" fmla="*/ 124779 w 125730"/>
                  <a:gd name="connsiteY8" fmla="*/ 187850 h 219328"/>
                  <a:gd name="connsiteX9" fmla="*/ 125730 w 125730"/>
                  <a:gd name="connsiteY9" fmla="*/ 216069 h 219328"/>
                  <a:gd name="connsiteX10" fmla="*/ 109753 w 125730"/>
                  <a:gd name="connsiteY10" fmla="*/ 216069 h 219328"/>
                  <a:gd name="connsiteX11" fmla="*/ 106044 w 125730"/>
                  <a:gd name="connsiteY11" fmla="*/ 95369 h 219328"/>
                  <a:gd name="connsiteX12" fmla="*/ 67145 w 125730"/>
                  <a:gd name="connsiteY12" fmla="*/ 77953 h 219328"/>
                  <a:gd name="connsiteX13" fmla="*/ 19592 w 125730"/>
                  <a:gd name="connsiteY13" fmla="*/ 141004 h 219328"/>
                  <a:gd name="connsiteX14" fmla="*/ 64958 w 125730"/>
                  <a:gd name="connsiteY14" fmla="*/ 204055 h 219328"/>
                  <a:gd name="connsiteX15" fmla="*/ 106044 w 125730"/>
                  <a:gd name="connsiteY15" fmla="*/ 177046 h 219328"/>
                  <a:gd name="connsiteX16" fmla="*/ 106044 w 125730"/>
                  <a:gd name="connsiteY16" fmla="*/ 95462 h 21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730" h="219328">
                    <a:moveTo>
                      <a:pt x="109753" y="216069"/>
                    </a:moveTo>
                    <a:lnTo>
                      <a:pt x="108231" y="192320"/>
                    </a:lnTo>
                    <a:cubicBezTo>
                      <a:pt x="99386" y="204893"/>
                      <a:pt x="84645" y="219329"/>
                      <a:pt x="60392" y="219329"/>
                    </a:cubicBezTo>
                    <a:cubicBezTo>
                      <a:pt x="19592" y="219329"/>
                      <a:pt x="0" y="183938"/>
                      <a:pt x="0" y="140352"/>
                    </a:cubicBezTo>
                    <a:cubicBezTo>
                      <a:pt x="0" y="91736"/>
                      <a:pt x="28151" y="62586"/>
                      <a:pt x="63151" y="62586"/>
                    </a:cubicBezTo>
                    <a:cubicBezTo>
                      <a:pt x="82172" y="62586"/>
                      <a:pt x="97199" y="70409"/>
                      <a:pt x="106044" y="79350"/>
                    </a:cubicBezTo>
                    <a:lnTo>
                      <a:pt x="106044" y="0"/>
                    </a:lnTo>
                    <a:lnTo>
                      <a:pt x="124779" y="0"/>
                    </a:lnTo>
                    <a:lnTo>
                      <a:pt x="124779" y="187850"/>
                    </a:lnTo>
                    <a:cubicBezTo>
                      <a:pt x="124779" y="195021"/>
                      <a:pt x="125350" y="209457"/>
                      <a:pt x="125730" y="216069"/>
                    </a:cubicBezTo>
                    <a:lnTo>
                      <a:pt x="109753" y="216069"/>
                    </a:lnTo>
                    <a:close/>
                    <a:moveTo>
                      <a:pt x="106044" y="95369"/>
                    </a:moveTo>
                    <a:cubicBezTo>
                      <a:pt x="96533" y="86335"/>
                      <a:pt x="86737" y="77953"/>
                      <a:pt x="67145" y="77953"/>
                    </a:cubicBezTo>
                    <a:cubicBezTo>
                      <a:pt x="47553" y="77953"/>
                      <a:pt x="19592" y="93878"/>
                      <a:pt x="19592" y="141004"/>
                    </a:cubicBezTo>
                    <a:cubicBezTo>
                      <a:pt x="19592" y="178257"/>
                      <a:pt x="36140" y="204055"/>
                      <a:pt x="64958" y="204055"/>
                    </a:cubicBezTo>
                    <a:cubicBezTo>
                      <a:pt x="84264" y="204055"/>
                      <a:pt x="97484" y="190271"/>
                      <a:pt x="106044" y="177046"/>
                    </a:cubicBezTo>
                    <a:lnTo>
                      <a:pt x="106044" y="95462"/>
                    </a:lnTo>
                    <a:close/>
                  </a:path>
                </a:pathLst>
              </a:custGeom>
              <a:grpFill/>
              <a:ln w="9503" cap="flat">
                <a:noFill/>
                <a:prstDash val="solid"/>
                <a:miter/>
              </a:ln>
            </p:spPr>
            <p:txBody>
              <a:bodyPr rtlCol="0" anchor="ctr"/>
              <a:lstStyle/>
              <a:p>
                <a:endParaRPr lang="en-DK"/>
              </a:p>
            </p:txBody>
          </p:sp>
        </p:grpSp>
        <p:grpSp>
          <p:nvGrpSpPr>
            <p:cNvPr id="8" name="Graphic 17">
              <a:extLst>
                <a:ext uri="{FF2B5EF4-FFF2-40B4-BE49-F238E27FC236}">
                  <a16:creationId xmlns:a16="http://schemas.microsoft.com/office/drawing/2014/main" id="{864E66EA-0B70-7F21-9B35-7B43AE3B1625}"/>
                </a:ext>
              </a:extLst>
            </p:cNvPr>
            <p:cNvGrpSpPr/>
            <p:nvPr/>
          </p:nvGrpSpPr>
          <p:grpSpPr>
            <a:xfrm>
              <a:off x="6465963" y="3289300"/>
              <a:ext cx="1730364" cy="282193"/>
              <a:chOff x="6465963" y="3289300"/>
              <a:chExt cx="1730364" cy="282193"/>
            </a:xfrm>
            <a:grpFill/>
          </p:grpSpPr>
          <p:sp>
            <p:nvSpPr>
              <p:cNvPr id="9" name="Freeform 8">
                <a:extLst>
                  <a:ext uri="{FF2B5EF4-FFF2-40B4-BE49-F238E27FC236}">
                    <a16:creationId xmlns:a16="http://schemas.microsoft.com/office/drawing/2014/main" id="{CC147F63-3F02-E07F-35C7-9CB94C57346A}"/>
                  </a:ext>
                </a:extLst>
              </p:cNvPr>
              <p:cNvSpPr/>
              <p:nvPr/>
            </p:nvSpPr>
            <p:spPr>
              <a:xfrm>
                <a:off x="6465963" y="3355424"/>
                <a:ext cx="145512" cy="216069"/>
              </a:xfrm>
              <a:custGeom>
                <a:avLst/>
                <a:gdLst>
                  <a:gd name="connsiteX0" fmla="*/ 93204 w 145512"/>
                  <a:gd name="connsiteY0" fmla="*/ 161121 h 216069"/>
                  <a:gd name="connsiteX1" fmla="*/ 18451 w 145512"/>
                  <a:gd name="connsiteY1" fmla="*/ 216069 h 216069"/>
                  <a:gd name="connsiteX2" fmla="*/ 13220 w 145512"/>
                  <a:gd name="connsiteY2" fmla="*/ 189061 h 216069"/>
                  <a:gd name="connsiteX3" fmla="*/ 58871 w 145512"/>
                  <a:gd name="connsiteY3" fmla="*/ 159072 h 216069"/>
                  <a:gd name="connsiteX4" fmla="*/ 61914 w 145512"/>
                  <a:gd name="connsiteY4" fmla="*/ 149479 h 216069"/>
                  <a:gd name="connsiteX5" fmla="*/ 0 w 145512"/>
                  <a:gd name="connsiteY5" fmla="*/ 0 h 216069"/>
                  <a:gd name="connsiteX6" fmla="*/ 36426 w 145512"/>
                  <a:gd name="connsiteY6" fmla="*/ 0 h 216069"/>
                  <a:gd name="connsiteX7" fmla="*/ 63056 w 145512"/>
                  <a:gd name="connsiteY7" fmla="*/ 68453 h 216069"/>
                  <a:gd name="connsiteX8" fmla="*/ 78368 w 145512"/>
                  <a:gd name="connsiteY8" fmla="*/ 114368 h 216069"/>
                  <a:gd name="connsiteX9" fmla="*/ 111179 w 145512"/>
                  <a:gd name="connsiteY9" fmla="*/ 0 h 216069"/>
                  <a:gd name="connsiteX10" fmla="*/ 145513 w 145512"/>
                  <a:gd name="connsiteY10" fmla="*/ 0 h 216069"/>
                  <a:gd name="connsiteX11" fmla="*/ 93109 w 145512"/>
                  <a:gd name="connsiteY11" fmla="*/ 161214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512" h="216069">
                    <a:moveTo>
                      <a:pt x="93204" y="161121"/>
                    </a:moveTo>
                    <a:cubicBezTo>
                      <a:pt x="80650" y="199492"/>
                      <a:pt x="52118" y="211878"/>
                      <a:pt x="18451" y="216069"/>
                    </a:cubicBezTo>
                    <a:lnTo>
                      <a:pt x="13220" y="189061"/>
                    </a:lnTo>
                    <a:cubicBezTo>
                      <a:pt x="37472" y="185428"/>
                      <a:pt x="53640" y="175277"/>
                      <a:pt x="58871" y="159072"/>
                    </a:cubicBezTo>
                    <a:lnTo>
                      <a:pt x="61914" y="149479"/>
                    </a:lnTo>
                    <a:lnTo>
                      <a:pt x="0" y="0"/>
                    </a:lnTo>
                    <a:lnTo>
                      <a:pt x="36426" y="0"/>
                    </a:lnTo>
                    <a:lnTo>
                      <a:pt x="63056" y="68453"/>
                    </a:lnTo>
                    <a:cubicBezTo>
                      <a:pt x="70379" y="87638"/>
                      <a:pt x="78368" y="114368"/>
                      <a:pt x="78368" y="114368"/>
                    </a:cubicBezTo>
                    <a:lnTo>
                      <a:pt x="111179" y="0"/>
                    </a:lnTo>
                    <a:lnTo>
                      <a:pt x="145513" y="0"/>
                    </a:lnTo>
                    <a:lnTo>
                      <a:pt x="93109" y="161214"/>
                    </a:lnTo>
                    <a:close/>
                  </a:path>
                </a:pathLst>
              </a:custGeom>
              <a:grpFill/>
              <a:ln w="9503" cap="flat">
                <a:noFill/>
                <a:prstDash val="solid"/>
                <a:miter/>
              </a:ln>
            </p:spPr>
            <p:txBody>
              <a:bodyPr rtlCol="0" anchor="ctr"/>
              <a:lstStyle/>
              <a:p>
                <a:endParaRPr lang="en-DK"/>
              </a:p>
            </p:txBody>
          </p:sp>
          <p:sp>
            <p:nvSpPr>
              <p:cNvPr id="10" name="Freeform 9">
                <a:extLst>
                  <a:ext uri="{FF2B5EF4-FFF2-40B4-BE49-F238E27FC236}">
                    <a16:creationId xmlns:a16="http://schemas.microsoft.com/office/drawing/2014/main" id="{59B843D4-00E8-5135-191F-67D38F7B7FE2}"/>
                  </a:ext>
                </a:extLst>
              </p:cNvPr>
              <p:cNvSpPr/>
              <p:nvPr/>
            </p:nvSpPr>
            <p:spPr>
              <a:xfrm>
                <a:off x="6629927" y="3351140"/>
                <a:ext cx="147795" cy="158419"/>
              </a:xfrm>
              <a:custGeom>
                <a:avLst/>
                <a:gdLst>
                  <a:gd name="connsiteX0" fmla="*/ 73898 w 147795"/>
                  <a:gd name="connsiteY0" fmla="*/ 158420 h 158419"/>
                  <a:gd name="connsiteX1" fmla="*/ 0 w 147795"/>
                  <a:gd name="connsiteY1" fmla="*/ 78605 h 158419"/>
                  <a:gd name="connsiteX2" fmla="*/ 73898 w 147795"/>
                  <a:gd name="connsiteY2" fmla="*/ 0 h 158419"/>
                  <a:gd name="connsiteX3" fmla="*/ 147795 w 147795"/>
                  <a:gd name="connsiteY3" fmla="*/ 78605 h 158419"/>
                  <a:gd name="connsiteX4" fmla="*/ 73898 w 147795"/>
                  <a:gd name="connsiteY4" fmla="*/ 158420 h 158419"/>
                  <a:gd name="connsiteX5" fmla="*/ 73898 w 147795"/>
                  <a:gd name="connsiteY5" fmla="*/ 26357 h 158419"/>
                  <a:gd name="connsiteX6" fmla="*/ 34714 w 147795"/>
                  <a:gd name="connsiteY6" fmla="*/ 78605 h 158419"/>
                  <a:gd name="connsiteX7" fmla="*/ 73898 w 147795"/>
                  <a:gd name="connsiteY7" fmla="*/ 132063 h 158419"/>
                  <a:gd name="connsiteX8" fmla="*/ 113081 w 147795"/>
                  <a:gd name="connsiteY8" fmla="*/ 78605 h 158419"/>
                  <a:gd name="connsiteX9" fmla="*/ 73898 w 147795"/>
                  <a:gd name="connsiteY9" fmla="*/ 26357 h 1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95" h="158419">
                    <a:moveTo>
                      <a:pt x="73898" y="158420"/>
                    </a:moveTo>
                    <a:cubicBezTo>
                      <a:pt x="26725" y="158420"/>
                      <a:pt x="0" y="124799"/>
                      <a:pt x="0" y="78605"/>
                    </a:cubicBezTo>
                    <a:cubicBezTo>
                      <a:pt x="0" y="32410"/>
                      <a:pt x="27581" y="0"/>
                      <a:pt x="73898" y="0"/>
                    </a:cubicBezTo>
                    <a:cubicBezTo>
                      <a:pt x="120214" y="0"/>
                      <a:pt x="147795" y="32410"/>
                      <a:pt x="147795" y="78605"/>
                    </a:cubicBezTo>
                    <a:cubicBezTo>
                      <a:pt x="147795" y="124799"/>
                      <a:pt x="120214" y="158420"/>
                      <a:pt x="73898" y="158420"/>
                    </a:cubicBezTo>
                    <a:close/>
                    <a:moveTo>
                      <a:pt x="73898" y="26357"/>
                    </a:moveTo>
                    <a:cubicBezTo>
                      <a:pt x="47838" y="26357"/>
                      <a:pt x="34714" y="47405"/>
                      <a:pt x="34714" y="78605"/>
                    </a:cubicBezTo>
                    <a:cubicBezTo>
                      <a:pt x="34714" y="109804"/>
                      <a:pt x="48504" y="132063"/>
                      <a:pt x="73898" y="132063"/>
                    </a:cubicBezTo>
                    <a:cubicBezTo>
                      <a:pt x="99291" y="132063"/>
                      <a:pt x="113081" y="109897"/>
                      <a:pt x="113081" y="78605"/>
                    </a:cubicBezTo>
                    <a:cubicBezTo>
                      <a:pt x="113081" y="47312"/>
                      <a:pt x="99005" y="26357"/>
                      <a:pt x="73898" y="26357"/>
                    </a:cubicBezTo>
                    <a:close/>
                  </a:path>
                </a:pathLst>
              </a:custGeom>
              <a:grpFill/>
              <a:ln w="9503" cap="flat">
                <a:noFill/>
                <a:prstDash val="solid"/>
                <a:miter/>
              </a:ln>
            </p:spPr>
            <p:txBody>
              <a:bodyPr rtlCol="0" anchor="ctr"/>
              <a:lstStyle/>
              <a:p>
                <a:endParaRPr lang="en-DK"/>
              </a:p>
            </p:txBody>
          </p:sp>
          <p:sp>
            <p:nvSpPr>
              <p:cNvPr id="11" name="Freeform 10">
                <a:extLst>
                  <a:ext uri="{FF2B5EF4-FFF2-40B4-BE49-F238E27FC236}">
                    <a16:creationId xmlns:a16="http://schemas.microsoft.com/office/drawing/2014/main" id="{30A7A810-007D-F175-9F2D-B3A53943B229}"/>
                  </a:ext>
                </a:extLst>
              </p:cNvPr>
              <p:cNvSpPr/>
              <p:nvPr/>
            </p:nvSpPr>
            <p:spPr>
              <a:xfrm>
                <a:off x="6812911" y="3355331"/>
                <a:ext cx="127252" cy="153949"/>
              </a:xfrm>
              <a:custGeom>
                <a:avLst/>
                <a:gdLst>
                  <a:gd name="connsiteX0" fmla="*/ 99957 w 127252"/>
                  <a:gd name="connsiteY0" fmla="*/ 150038 h 153949"/>
                  <a:gd name="connsiteX1" fmla="*/ 97199 w 127252"/>
                  <a:gd name="connsiteY1" fmla="*/ 132622 h 153949"/>
                  <a:gd name="connsiteX2" fmla="*/ 53069 w 127252"/>
                  <a:gd name="connsiteY2" fmla="*/ 153949 h 153949"/>
                  <a:gd name="connsiteX3" fmla="*/ 0 w 127252"/>
                  <a:gd name="connsiteY3" fmla="*/ 95462 h 153949"/>
                  <a:gd name="connsiteX4" fmla="*/ 0 w 127252"/>
                  <a:gd name="connsiteY4" fmla="*/ 0 h 153949"/>
                  <a:gd name="connsiteX5" fmla="*/ 34048 w 127252"/>
                  <a:gd name="connsiteY5" fmla="*/ 0 h 153949"/>
                  <a:gd name="connsiteX6" fmla="*/ 34048 w 127252"/>
                  <a:gd name="connsiteY6" fmla="*/ 90619 h 153949"/>
                  <a:gd name="connsiteX7" fmla="*/ 60107 w 127252"/>
                  <a:gd name="connsiteY7" fmla="*/ 127220 h 153949"/>
                  <a:gd name="connsiteX8" fmla="*/ 91682 w 127252"/>
                  <a:gd name="connsiteY8" fmla="*/ 108035 h 153949"/>
                  <a:gd name="connsiteX9" fmla="*/ 91682 w 127252"/>
                  <a:gd name="connsiteY9" fmla="*/ 0 h 153949"/>
                  <a:gd name="connsiteX10" fmla="*/ 125731 w 127252"/>
                  <a:gd name="connsiteY10" fmla="*/ 0 h 153949"/>
                  <a:gd name="connsiteX11" fmla="*/ 125731 w 127252"/>
                  <a:gd name="connsiteY11" fmla="*/ 123029 h 153949"/>
                  <a:gd name="connsiteX12" fmla="*/ 127252 w 127252"/>
                  <a:gd name="connsiteY12" fmla="*/ 150038 h 153949"/>
                  <a:gd name="connsiteX13" fmla="*/ 99957 w 127252"/>
                  <a:gd name="connsiteY13" fmla="*/ 150038 h 1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252" h="153949">
                    <a:moveTo>
                      <a:pt x="99957" y="150038"/>
                    </a:moveTo>
                    <a:lnTo>
                      <a:pt x="97199" y="132622"/>
                    </a:lnTo>
                    <a:cubicBezTo>
                      <a:pt x="86452" y="146126"/>
                      <a:pt x="71425" y="153949"/>
                      <a:pt x="53069" y="153949"/>
                    </a:cubicBezTo>
                    <a:cubicBezTo>
                      <a:pt x="15027" y="153949"/>
                      <a:pt x="0" y="131784"/>
                      <a:pt x="0" y="95462"/>
                    </a:cubicBezTo>
                    <a:lnTo>
                      <a:pt x="0" y="0"/>
                    </a:lnTo>
                    <a:lnTo>
                      <a:pt x="34048" y="0"/>
                    </a:lnTo>
                    <a:lnTo>
                      <a:pt x="34048" y="90619"/>
                    </a:lnTo>
                    <a:cubicBezTo>
                      <a:pt x="34048" y="117069"/>
                      <a:pt x="39850" y="127220"/>
                      <a:pt x="60107" y="127220"/>
                    </a:cubicBezTo>
                    <a:cubicBezTo>
                      <a:pt x="76085" y="127220"/>
                      <a:pt x="86452" y="115485"/>
                      <a:pt x="91682" y="108035"/>
                    </a:cubicBezTo>
                    <a:lnTo>
                      <a:pt x="91682" y="0"/>
                    </a:lnTo>
                    <a:lnTo>
                      <a:pt x="125731" y="0"/>
                    </a:lnTo>
                    <a:lnTo>
                      <a:pt x="125731" y="123029"/>
                    </a:lnTo>
                    <a:cubicBezTo>
                      <a:pt x="125731" y="128151"/>
                      <a:pt x="126967" y="144915"/>
                      <a:pt x="127252" y="150038"/>
                    </a:cubicBezTo>
                    <a:lnTo>
                      <a:pt x="99957" y="150038"/>
                    </a:lnTo>
                    <a:close/>
                  </a:path>
                </a:pathLst>
              </a:custGeom>
              <a:grpFill/>
              <a:ln w="9503" cap="flat">
                <a:noFill/>
                <a:prstDash val="solid"/>
                <a:miter/>
              </a:ln>
            </p:spPr>
            <p:txBody>
              <a:bodyPr rtlCol="0" anchor="ctr"/>
              <a:lstStyle/>
              <a:p>
                <a:endParaRPr lang="en-DK"/>
              </a:p>
            </p:txBody>
          </p:sp>
          <p:sp>
            <p:nvSpPr>
              <p:cNvPr id="12" name="Freeform 11">
                <a:extLst>
                  <a:ext uri="{FF2B5EF4-FFF2-40B4-BE49-F238E27FC236}">
                    <a16:creationId xmlns:a16="http://schemas.microsoft.com/office/drawing/2014/main" id="{FA5C5029-B916-06F3-F720-4137A3776FDD}"/>
                  </a:ext>
                </a:extLst>
              </p:cNvPr>
              <p:cNvSpPr/>
              <p:nvPr/>
            </p:nvSpPr>
            <p:spPr>
              <a:xfrm>
                <a:off x="6980013" y="3351140"/>
                <a:ext cx="93204" cy="154228"/>
              </a:xfrm>
              <a:custGeom>
                <a:avLst/>
                <a:gdLst>
                  <a:gd name="connsiteX0" fmla="*/ 83123 w 93204"/>
                  <a:gd name="connsiteY0" fmla="*/ 37160 h 154228"/>
                  <a:gd name="connsiteX1" fmla="*/ 68381 w 93204"/>
                  <a:gd name="connsiteY1" fmla="*/ 32690 h 154228"/>
                  <a:gd name="connsiteX2" fmla="*/ 35570 w 93204"/>
                  <a:gd name="connsiteY2" fmla="*/ 56066 h 154228"/>
                  <a:gd name="connsiteX3" fmla="*/ 35570 w 93204"/>
                  <a:gd name="connsiteY3" fmla="*/ 154229 h 154228"/>
                  <a:gd name="connsiteX4" fmla="*/ 1521 w 93204"/>
                  <a:gd name="connsiteY4" fmla="*/ 154229 h 154228"/>
                  <a:gd name="connsiteX5" fmla="*/ 1521 w 93204"/>
                  <a:gd name="connsiteY5" fmla="*/ 32410 h 154228"/>
                  <a:gd name="connsiteX6" fmla="*/ 0 w 93204"/>
                  <a:gd name="connsiteY6" fmla="*/ 4191 h 154228"/>
                  <a:gd name="connsiteX7" fmla="*/ 26059 w 93204"/>
                  <a:gd name="connsiteY7" fmla="*/ 4191 h 154228"/>
                  <a:gd name="connsiteX8" fmla="*/ 28817 w 93204"/>
                  <a:gd name="connsiteY8" fmla="*/ 29710 h 154228"/>
                  <a:gd name="connsiteX9" fmla="*/ 77892 w 93204"/>
                  <a:gd name="connsiteY9" fmla="*/ 0 h 154228"/>
                  <a:gd name="connsiteX10" fmla="*/ 93204 w 93204"/>
                  <a:gd name="connsiteY10" fmla="*/ 2421 h 154228"/>
                  <a:gd name="connsiteX11" fmla="*/ 83123 w 93204"/>
                  <a:gd name="connsiteY11" fmla="*/ 37253 h 15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04" h="154228">
                    <a:moveTo>
                      <a:pt x="83123" y="37160"/>
                    </a:moveTo>
                    <a:cubicBezTo>
                      <a:pt x="78177" y="34180"/>
                      <a:pt x="73898" y="32690"/>
                      <a:pt x="68381" y="32690"/>
                    </a:cubicBezTo>
                    <a:cubicBezTo>
                      <a:pt x="53640" y="32690"/>
                      <a:pt x="44129" y="42934"/>
                      <a:pt x="35570" y="56066"/>
                    </a:cubicBezTo>
                    <a:lnTo>
                      <a:pt x="35570" y="154229"/>
                    </a:lnTo>
                    <a:lnTo>
                      <a:pt x="1521" y="154229"/>
                    </a:lnTo>
                    <a:lnTo>
                      <a:pt x="1521" y="32410"/>
                    </a:lnTo>
                    <a:cubicBezTo>
                      <a:pt x="1521" y="27288"/>
                      <a:pt x="285" y="9313"/>
                      <a:pt x="0" y="4191"/>
                    </a:cubicBezTo>
                    <a:lnTo>
                      <a:pt x="26059" y="4191"/>
                    </a:lnTo>
                    <a:lnTo>
                      <a:pt x="28817" y="29710"/>
                    </a:lnTo>
                    <a:cubicBezTo>
                      <a:pt x="37091" y="14063"/>
                      <a:pt x="51452" y="0"/>
                      <a:pt x="77892" y="0"/>
                    </a:cubicBezTo>
                    <a:cubicBezTo>
                      <a:pt x="83123" y="0"/>
                      <a:pt x="88924" y="931"/>
                      <a:pt x="93204" y="2421"/>
                    </a:cubicBezTo>
                    <a:lnTo>
                      <a:pt x="83123" y="37253"/>
                    </a:lnTo>
                    <a:close/>
                  </a:path>
                </a:pathLst>
              </a:custGeom>
              <a:grpFill/>
              <a:ln w="9503" cap="flat">
                <a:noFill/>
                <a:prstDash val="solid"/>
                <a:miter/>
              </a:ln>
            </p:spPr>
            <p:txBody>
              <a:bodyPr rtlCol="0" anchor="ctr"/>
              <a:lstStyle/>
              <a:p>
                <a:endParaRPr lang="en-DK"/>
              </a:p>
            </p:txBody>
          </p:sp>
          <p:sp>
            <p:nvSpPr>
              <p:cNvPr id="13" name="Freeform 12">
                <a:extLst>
                  <a:ext uri="{FF2B5EF4-FFF2-40B4-BE49-F238E27FC236}">
                    <a16:creationId xmlns:a16="http://schemas.microsoft.com/office/drawing/2014/main" id="{81D0F73F-B746-FB62-330C-998E663F954A}"/>
                  </a:ext>
                </a:extLst>
              </p:cNvPr>
              <p:cNvSpPr/>
              <p:nvPr/>
            </p:nvSpPr>
            <p:spPr>
              <a:xfrm>
                <a:off x="7192956" y="3351140"/>
                <a:ext cx="218744" cy="154321"/>
              </a:xfrm>
              <a:custGeom>
                <a:avLst/>
                <a:gdLst>
                  <a:gd name="connsiteX0" fmla="*/ 184982 w 218744"/>
                  <a:gd name="connsiteY0" fmla="*/ 154229 h 154321"/>
                  <a:gd name="connsiteX1" fmla="*/ 184982 w 218744"/>
                  <a:gd name="connsiteY1" fmla="*/ 67242 h 154321"/>
                  <a:gd name="connsiteX2" fmla="*/ 157972 w 218744"/>
                  <a:gd name="connsiteY2" fmla="*/ 27288 h 154321"/>
                  <a:gd name="connsiteX3" fmla="*/ 126682 w 218744"/>
                  <a:gd name="connsiteY3" fmla="*/ 47405 h 154321"/>
                  <a:gd name="connsiteX4" fmla="*/ 127252 w 218744"/>
                  <a:gd name="connsiteY4" fmla="*/ 57277 h 154321"/>
                  <a:gd name="connsiteX5" fmla="*/ 127252 w 218744"/>
                  <a:gd name="connsiteY5" fmla="*/ 154229 h 154321"/>
                  <a:gd name="connsiteX6" fmla="*/ 93204 w 218744"/>
                  <a:gd name="connsiteY6" fmla="*/ 154229 h 154321"/>
                  <a:gd name="connsiteX7" fmla="*/ 93204 w 218744"/>
                  <a:gd name="connsiteY7" fmla="*/ 67522 h 154321"/>
                  <a:gd name="connsiteX8" fmla="*/ 66194 w 218744"/>
                  <a:gd name="connsiteY8" fmla="*/ 27288 h 154321"/>
                  <a:gd name="connsiteX9" fmla="*/ 35570 w 218744"/>
                  <a:gd name="connsiteY9" fmla="*/ 47405 h 154321"/>
                  <a:gd name="connsiteX10" fmla="*/ 35570 w 218744"/>
                  <a:gd name="connsiteY10" fmla="*/ 154229 h 154321"/>
                  <a:gd name="connsiteX11" fmla="*/ 1522 w 218744"/>
                  <a:gd name="connsiteY11" fmla="*/ 154229 h 154321"/>
                  <a:gd name="connsiteX12" fmla="*/ 1522 w 218744"/>
                  <a:gd name="connsiteY12" fmla="*/ 31200 h 154321"/>
                  <a:gd name="connsiteX13" fmla="*/ 0 w 218744"/>
                  <a:gd name="connsiteY13" fmla="*/ 4191 h 154321"/>
                  <a:gd name="connsiteX14" fmla="*/ 26630 w 218744"/>
                  <a:gd name="connsiteY14" fmla="*/ 4191 h 154321"/>
                  <a:gd name="connsiteX15" fmla="*/ 29958 w 218744"/>
                  <a:gd name="connsiteY15" fmla="*/ 22818 h 154321"/>
                  <a:gd name="connsiteX16" fmla="*/ 72281 w 218744"/>
                  <a:gd name="connsiteY16" fmla="*/ 0 h 154321"/>
                  <a:gd name="connsiteX17" fmla="*/ 118217 w 218744"/>
                  <a:gd name="connsiteY17" fmla="*/ 24028 h 154321"/>
                  <a:gd name="connsiteX18" fmla="*/ 164154 w 218744"/>
                  <a:gd name="connsiteY18" fmla="*/ 0 h 154321"/>
                  <a:gd name="connsiteX19" fmla="*/ 218745 w 218744"/>
                  <a:gd name="connsiteY19" fmla="*/ 68453 h 154321"/>
                  <a:gd name="connsiteX20" fmla="*/ 218745 w 218744"/>
                  <a:gd name="connsiteY20" fmla="*/ 154322 h 154321"/>
                  <a:gd name="connsiteX21" fmla="*/ 184697 w 218744"/>
                  <a:gd name="connsiteY21" fmla="*/ 154322 h 15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8744" h="154321">
                    <a:moveTo>
                      <a:pt x="184982" y="154229"/>
                    </a:moveTo>
                    <a:lnTo>
                      <a:pt x="184982" y="67242"/>
                    </a:lnTo>
                    <a:cubicBezTo>
                      <a:pt x="184982" y="42655"/>
                      <a:pt x="179180" y="27288"/>
                      <a:pt x="157972" y="27288"/>
                    </a:cubicBezTo>
                    <a:cubicBezTo>
                      <a:pt x="144181" y="27288"/>
                      <a:pt x="133719" y="37160"/>
                      <a:pt x="126682" y="47405"/>
                    </a:cubicBezTo>
                    <a:cubicBezTo>
                      <a:pt x="126967" y="50106"/>
                      <a:pt x="127252" y="54297"/>
                      <a:pt x="127252" y="57277"/>
                    </a:cubicBezTo>
                    <a:lnTo>
                      <a:pt x="127252" y="154229"/>
                    </a:lnTo>
                    <a:lnTo>
                      <a:pt x="93204" y="154229"/>
                    </a:lnTo>
                    <a:lnTo>
                      <a:pt x="93204" y="67522"/>
                    </a:lnTo>
                    <a:cubicBezTo>
                      <a:pt x="93204" y="41724"/>
                      <a:pt x="88639" y="27288"/>
                      <a:pt x="66194" y="27288"/>
                    </a:cubicBezTo>
                    <a:cubicBezTo>
                      <a:pt x="53355" y="27288"/>
                      <a:pt x="42322" y="38092"/>
                      <a:pt x="35570" y="47405"/>
                    </a:cubicBezTo>
                    <a:lnTo>
                      <a:pt x="35570" y="154229"/>
                    </a:lnTo>
                    <a:lnTo>
                      <a:pt x="1522" y="154229"/>
                    </a:lnTo>
                    <a:lnTo>
                      <a:pt x="1522" y="31200"/>
                    </a:lnTo>
                    <a:cubicBezTo>
                      <a:pt x="1522" y="26077"/>
                      <a:pt x="285" y="9313"/>
                      <a:pt x="0" y="4191"/>
                    </a:cubicBezTo>
                    <a:lnTo>
                      <a:pt x="26630" y="4191"/>
                    </a:lnTo>
                    <a:lnTo>
                      <a:pt x="29958" y="22818"/>
                    </a:lnTo>
                    <a:cubicBezTo>
                      <a:pt x="40991" y="9872"/>
                      <a:pt x="55067" y="0"/>
                      <a:pt x="72281" y="0"/>
                    </a:cubicBezTo>
                    <a:cubicBezTo>
                      <a:pt x="96153" y="0"/>
                      <a:pt x="109087" y="9034"/>
                      <a:pt x="118217" y="24028"/>
                    </a:cubicBezTo>
                    <a:cubicBezTo>
                      <a:pt x="128013" y="11083"/>
                      <a:pt x="142755" y="0"/>
                      <a:pt x="164154" y="0"/>
                    </a:cubicBezTo>
                    <a:cubicBezTo>
                      <a:pt x="202481" y="0"/>
                      <a:pt x="218745" y="20676"/>
                      <a:pt x="218745" y="68453"/>
                    </a:cubicBezTo>
                    <a:lnTo>
                      <a:pt x="218745" y="154322"/>
                    </a:lnTo>
                    <a:lnTo>
                      <a:pt x="184697" y="154322"/>
                    </a:lnTo>
                    <a:close/>
                  </a:path>
                </a:pathLst>
              </a:custGeom>
              <a:grpFill/>
              <a:ln w="9503" cap="flat">
                <a:noFill/>
                <a:prstDash val="solid"/>
                <a:miter/>
              </a:ln>
            </p:spPr>
            <p:txBody>
              <a:bodyPr rtlCol="0" anchor="ctr"/>
              <a:lstStyle/>
              <a:p>
                <a:endParaRPr lang="en-DK"/>
              </a:p>
            </p:txBody>
          </p:sp>
          <p:sp>
            <p:nvSpPr>
              <p:cNvPr id="14" name="Freeform 13">
                <a:extLst>
                  <a:ext uri="{FF2B5EF4-FFF2-40B4-BE49-F238E27FC236}">
                    <a16:creationId xmlns:a16="http://schemas.microsoft.com/office/drawing/2014/main" id="{DC3B1801-1CB4-02A9-C876-0FDD68C66BC5}"/>
                  </a:ext>
                </a:extLst>
              </p:cNvPr>
              <p:cNvSpPr/>
              <p:nvPr/>
            </p:nvSpPr>
            <p:spPr>
              <a:xfrm>
                <a:off x="7454879" y="3289300"/>
                <a:ext cx="36425" cy="216069"/>
              </a:xfrm>
              <a:custGeom>
                <a:avLst/>
                <a:gdLst>
                  <a:gd name="connsiteX0" fmla="*/ 0 w 36425"/>
                  <a:gd name="connsiteY0" fmla="*/ 32969 h 216069"/>
                  <a:gd name="connsiteX1" fmla="*/ 0 w 36425"/>
                  <a:gd name="connsiteY1" fmla="*/ 0 h 216069"/>
                  <a:gd name="connsiteX2" fmla="*/ 36426 w 36425"/>
                  <a:gd name="connsiteY2" fmla="*/ 0 h 216069"/>
                  <a:gd name="connsiteX3" fmla="*/ 36426 w 36425"/>
                  <a:gd name="connsiteY3" fmla="*/ 32969 h 216069"/>
                  <a:gd name="connsiteX4" fmla="*/ 0 w 36425"/>
                  <a:gd name="connsiteY4" fmla="*/ 32969 h 216069"/>
                  <a:gd name="connsiteX5" fmla="*/ 1236 w 36425"/>
                  <a:gd name="connsiteY5" fmla="*/ 216069 h 216069"/>
                  <a:gd name="connsiteX6" fmla="*/ 1236 w 36425"/>
                  <a:gd name="connsiteY6" fmla="*/ 66032 h 216069"/>
                  <a:gd name="connsiteX7" fmla="*/ 35284 w 36425"/>
                  <a:gd name="connsiteY7" fmla="*/ 66032 h 216069"/>
                  <a:gd name="connsiteX8" fmla="*/ 35284 w 36425"/>
                  <a:gd name="connsiteY8" fmla="*/ 216069 h 216069"/>
                  <a:gd name="connsiteX9" fmla="*/ 1236 w 36425"/>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25" h="216069">
                    <a:moveTo>
                      <a:pt x="0" y="32969"/>
                    </a:moveTo>
                    <a:lnTo>
                      <a:pt x="0" y="0"/>
                    </a:lnTo>
                    <a:lnTo>
                      <a:pt x="36426" y="0"/>
                    </a:lnTo>
                    <a:lnTo>
                      <a:pt x="36426" y="32969"/>
                    </a:lnTo>
                    <a:lnTo>
                      <a:pt x="0" y="32969"/>
                    </a:lnTo>
                    <a:close/>
                    <a:moveTo>
                      <a:pt x="1236" y="216069"/>
                    </a:moveTo>
                    <a:lnTo>
                      <a:pt x="1236" y="66032"/>
                    </a:lnTo>
                    <a:lnTo>
                      <a:pt x="35284" y="66032"/>
                    </a:lnTo>
                    <a:lnTo>
                      <a:pt x="35284" y="216069"/>
                    </a:lnTo>
                    <a:lnTo>
                      <a:pt x="1236" y="216069"/>
                    </a:lnTo>
                    <a:close/>
                  </a:path>
                </a:pathLst>
              </a:custGeom>
              <a:grpFill/>
              <a:ln w="9503" cap="flat">
                <a:noFill/>
                <a:prstDash val="solid"/>
                <a:miter/>
              </a:ln>
            </p:spPr>
            <p:txBody>
              <a:bodyPr rtlCol="0" anchor="ctr"/>
              <a:lstStyle/>
              <a:p>
                <a:endParaRPr lang="en-DK"/>
              </a:p>
            </p:txBody>
          </p:sp>
          <p:sp>
            <p:nvSpPr>
              <p:cNvPr id="15" name="Freeform 14">
                <a:extLst>
                  <a:ext uri="{FF2B5EF4-FFF2-40B4-BE49-F238E27FC236}">
                    <a16:creationId xmlns:a16="http://schemas.microsoft.com/office/drawing/2014/main" id="{7E8479D0-DE74-D052-30B8-F1832BD63F7C}"/>
                  </a:ext>
                </a:extLst>
              </p:cNvPr>
              <p:cNvSpPr/>
              <p:nvPr/>
            </p:nvSpPr>
            <p:spPr>
              <a:xfrm>
                <a:off x="7520502" y="3351326"/>
                <a:ext cx="120689" cy="157954"/>
              </a:xfrm>
              <a:custGeom>
                <a:avLst/>
                <a:gdLst>
                  <a:gd name="connsiteX0" fmla="*/ 61914 w 120689"/>
                  <a:gd name="connsiteY0" fmla="*/ 157954 h 157954"/>
                  <a:gd name="connsiteX1" fmla="*/ 0 w 120689"/>
                  <a:gd name="connsiteY1" fmla="*/ 139048 h 157954"/>
                  <a:gd name="connsiteX2" fmla="*/ 15598 w 120689"/>
                  <a:gd name="connsiteY2" fmla="*/ 115299 h 157954"/>
                  <a:gd name="connsiteX3" fmla="*/ 60678 w 120689"/>
                  <a:gd name="connsiteY3" fmla="*/ 131784 h 157954"/>
                  <a:gd name="connsiteX4" fmla="*/ 85786 w 120689"/>
                  <a:gd name="connsiteY4" fmla="*/ 115020 h 157954"/>
                  <a:gd name="connsiteX5" fmla="*/ 55732 w 120689"/>
                  <a:gd name="connsiteY5" fmla="*/ 91271 h 157954"/>
                  <a:gd name="connsiteX6" fmla="*/ 6372 w 120689"/>
                  <a:gd name="connsiteY6" fmla="*/ 44145 h 157954"/>
                  <a:gd name="connsiteX7" fmla="*/ 64577 w 120689"/>
                  <a:gd name="connsiteY7" fmla="*/ 0 h 157954"/>
                  <a:gd name="connsiteX8" fmla="*/ 118788 w 120689"/>
                  <a:gd name="connsiteY8" fmla="*/ 16205 h 157954"/>
                  <a:gd name="connsiteX9" fmla="*/ 104427 w 120689"/>
                  <a:gd name="connsiteY9" fmla="*/ 39302 h 157954"/>
                  <a:gd name="connsiteX10" fmla="*/ 65528 w 120689"/>
                  <a:gd name="connsiteY10" fmla="*/ 26077 h 157954"/>
                  <a:gd name="connsiteX11" fmla="*/ 41276 w 120689"/>
                  <a:gd name="connsiteY11" fmla="*/ 41724 h 157954"/>
                  <a:gd name="connsiteX12" fmla="*/ 75895 w 120689"/>
                  <a:gd name="connsiteY12" fmla="*/ 64821 h 157954"/>
                  <a:gd name="connsiteX13" fmla="*/ 120690 w 120689"/>
                  <a:gd name="connsiteY13" fmla="*/ 113716 h 157954"/>
                  <a:gd name="connsiteX14" fmla="*/ 61819 w 120689"/>
                  <a:gd name="connsiteY14" fmla="*/ 157861 h 1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689" h="157954">
                    <a:moveTo>
                      <a:pt x="61914" y="157954"/>
                    </a:moveTo>
                    <a:cubicBezTo>
                      <a:pt x="33097" y="157954"/>
                      <a:pt x="16263" y="149572"/>
                      <a:pt x="0" y="139048"/>
                    </a:cubicBezTo>
                    <a:lnTo>
                      <a:pt x="15598" y="115299"/>
                    </a:lnTo>
                    <a:cubicBezTo>
                      <a:pt x="28817" y="124612"/>
                      <a:pt x="44129" y="131784"/>
                      <a:pt x="60678" y="131784"/>
                    </a:cubicBezTo>
                    <a:cubicBezTo>
                      <a:pt x="77226" y="131784"/>
                      <a:pt x="85786" y="124612"/>
                      <a:pt x="85786" y="115020"/>
                    </a:cubicBezTo>
                    <a:cubicBezTo>
                      <a:pt x="85786" y="101795"/>
                      <a:pt x="76941" y="96672"/>
                      <a:pt x="55732" y="91271"/>
                    </a:cubicBezTo>
                    <a:cubicBezTo>
                      <a:pt x="32146" y="85310"/>
                      <a:pt x="6372" y="73855"/>
                      <a:pt x="6372" y="44145"/>
                    </a:cubicBezTo>
                    <a:cubicBezTo>
                      <a:pt x="6372" y="16578"/>
                      <a:pt x="30244" y="0"/>
                      <a:pt x="64577" y="0"/>
                    </a:cubicBezTo>
                    <a:cubicBezTo>
                      <a:pt x="86356" y="0"/>
                      <a:pt x="101669" y="4191"/>
                      <a:pt x="118788" y="16205"/>
                    </a:cubicBezTo>
                    <a:lnTo>
                      <a:pt x="104427" y="39302"/>
                    </a:lnTo>
                    <a:cubicBezTo>
                      <a:pt x="91207" y="29430"/>
                      <a:pt x="74659" y="26077"/>
                      <a:pt x="65528" y="26077"/>
                    </a:cubicBezTo>
                    <a:cubicBezTo>
                      <a:pt x="48029" y="26077"/>
                      <a:pt x="41276" y="32410"/>
                      <a:pt x="41276" y="41724"/>
                    </a:cubicBezTo>
                    <a:cubicBezTo>
                      <a:pt x="41276" y="54669"/>
                      <a:pt x="52594" y="58488"/>
                      <a:pt x="75895" y="64821"/>
                    </a:cubicBezTo>
                    <a:cubicBezTo>
                      <a:pt x="95487" y="69943"/>
                      <a:pt x="120690" y="80095"/>
                      <a:pt x="120690" y="113716"/>
                    </a:cubicBezTo>
                    <a:cubicBezTo>
                      <a:pt x="120690" y="144915"/>
                      <a:pt x="90922" y="157861"/>
                      <a:pt x="61819" y="157861"/>
                    </a:cubicBezTo>
                    <a:close/>
                  </a:path>
                </a:pathLst>
              </a:custGeom>
              <a:grpFill/>
              <a:ln w="9503" cap="flat">
                <a:noFill/>
                <a:prstDash val="solid"/>
                <a:miter/>
              </a:ln>
            </p:spPr>
            <p:txBody>
              <a:bodyPr rtlCol="0" anchor="ctr"/>
              <a:lstStyle/>
              <a:p>
                <a:endParaRPr lang="en-DK"/>
              </a:p>
            </p:txBody>
          </p:sp>
          <p:sp>
            <p:nvSpPr>
              <p:cNvPr id="16" name="Freeform 15">
                <a:extLst>
                  <a:ext uri="{FF2B5EF4-FFF2-40B4-BE49-F238E27FC236}">
                    <a16:creationId xmlns:a16="http://schemas.microsoft.com/office/drawing/2014/main" id="{13B1089A-9F88-A59A-742C-2E25B1ACE0CD}"/>
                  </a:ext>
                </a:extLst>
              </p:cNvPr>
              <p:cNvSpPr/>
              <p:nvPr/>
            </p:nvSpPr>
            <p:spPr>
              <a:xfrm>
                <a:off x="7658502" y="3351326"/>
                <a:ext cx="120689" cy="157954"/>
              </a:xfrm>
              <a:custGeom>
                <a:avLst/>
                <a:gdLst>
                  <a:gd name="connsiteX0" fmla="*/ 61914 w 120689"/>
                  <a:gd name="connsiteY0" fmla="*/ 157954 h 157954"/>
                  <a:gd name="connsiteX1" fmla="*/ 0 w 120689"/>
                  <a:gd name="connsiteY1" fmla="*/ 139048 h 157954"/>
                  <a:gd name="connsiteX2" fmla="*/ 15597 w 120689"/>
                  <a:gd name="connsiteY2" fmla="*/ 115299 h 157954"/>
                  <a:gd name="connsiteX3" fmla="*/ 60678 w 120689"/>
                  <a:gd name="connsiteY3" fmla="*/ 131784 h 157954"/>
                  <a:gd name="connsiteX4" fmla="*/ 85786 w 120689"/>
                  <a:gd name="connsiteY4" fmla="*/ 115020 h 157954"/>
                  <a:gd name="connsiteX5" fmla="*/ 55732 w 120689"/>
                  <a:gd name="connsiteY5" fmla="*/ 91271 h 157954"/>
                  <a:gd name="connsiteX6" fmla="*/ 6372 w 120689"/>
                  <a:gd name="connsiteY6" fmla="*/ 44145 h 157954"/>
                  <a:gd name="connsiteX7" fmla="*/ 64577 w 120689"/>
                  <a:gd name="connsiteY7" fmla="*/ 0 h 157954"/>
                  <a:gd name="connsiteX8" fmla="*/ 118788 w 120689"/>
                  <a:gd name="connsiteY8" fmla="*/ 16205 h 157954"/>
                  <a:gd name="connsiteX9" fmla="*/ 104427 w 120689"/>
                  <a:gd name="connsiteY9" fmla="*/ 39302 h 157954"/>
                  <a:gd name="connsiteX10" fmla="*/ 65528 w 120689"/>
                  <a:gd name="connsiteY10" fmla="*/ 26077 h 157954"/>
                  <a:gd name="connsiteX11" fmla="*/ 41276 w 120689"/>
                  <a:gd name="connsiteY11" fmla="*/ 41724 h 157954"/>
                  <a:gd name="connsiteX12" fmla="*/ 75895 w 120689"/>
                  <a:gd name="connsiteY12" fmla="*/ 64821 h 157954"/>
                  <a:gd name="connsiteX13" fmla="*/ 120690 w 120689"/>
                  <a:gd name="connsiteY13" fmla="*/ 113716 h 157954"/>
                  <a:gd name="connsiteX14" fmla="*/ 61819 w 120689"/>
                  <a:gd name="connsiteY14" fmla="*/ 157861 h 1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689" h="157954">
                    <a:moveTo>
                      <a:pt x="61914" y="157954"/>
                    </a:moveTo>
                    <a:cubicBezTo>
                      <a:pt x="33097" y="157954"/>
                      <a:pt x="16263" y="149572"/>
                      <a:pt x="0" y="139048"/>
                    </a:cubicBezTo>
                    <a:lnTo>
                      <a:pt x="15597" y="115299"/>
                    </a:lnTo>
                    <a:cubicBezTo>
                      <a:pt x="28817" y="124612"/>
                      <a:pt x="44129" y="131784"/>
                      <a:pt x="60678" y="131784"/>
                    </a:cubicBezTo>
                    <a:cubicBezTo>
                      <a:pt x="77226" y="131784"/>
                      <a:pt x="85786" y="124612"/>
                      <a:pt x="85786" y="115020"/>
                    </a:cubicBezTo>
                    <a:cubicBezTo>
                      <a:pt x="85786" y="101795"/>
                      <a:pt x="76941" y="96672"/>
                      <a:pt x="55732" y="91271"/>
                    </a:cubicBezTo>
                    <a:cubicBezTo>
                      <a:pt x="32146" y="85310"/>
                      <a:pt x="6372" y="73855"/>
                      <a:pt x="6372" y="44145"/>
                    </a:cubicBezTo>
                    <a:cubicBezTo>
                      <a:pt x="6372" y="16578"/>
                      <a:pt x="30244" y="0"/>
                      <a:pt x="64577" y="0"/>
                    </a:cubicBezTo>
                    <a:cubicBezTo>
                      <a:pt x="86356" y="0"/>
                      <a:pt x="101669" y="4191"/>
                      <a:pt x="118788" y="16205"/>
                    </a:cubicBezTo>
                    <a:lnTo>
                      <a:pt x="104427" y="39302"/>
                    </a:lnTo>
                    <a:cubicBezTo>
                      <a:pt x="91207" y="29430"/>
                      <a:pt x="74659" y="26077"/>
                      <a:pt x="65528" y="26077"/>
                    </a:cubicBezTo>
                    <a:cubicBezTo>
                      <a:pt x="48029" y="26077"/>
                      <a:pt x="41276" y="32410"/>
                      <a:pt x="41276" y="41724"/>
                    </a:cubicBezTo>
                    <a:cubicBezTo>
                      <a:pt x="41276" y="54669"/>
                      <a:pt x="52594" y="58488"/>
                      <a:pt x="75895" y="64821"/>
                    </a:cubicBezTo>
                    <a:cubicBezTo>
                      <a:pt x="95487" y="69943"/>
                      <a:pt x="120690" y="80095"/>
                      <a:pt x="120690" y="113716"/>
                    </a:cubicBezTo>
                    <a:cubicBezTo>
                      <a:pt x="120690" y="144915"/>
                      <a:pt x="90922" y="157861"/>
                      <a:pt x="61819" y="157861"/>
                    </a:cubicBezTo>
                    <a:close/>
                  </a:path>
                </a:pathLst>
              </a:custGeom>
              <a:grpFill/>
              <a:ln w="9503" cap="flat">
                <a:noFill/>
                <a:prstDash val="solid"/>
                <a:miter/>
              </a:ln>
            </p:spPr>
            <p:txBody>
              <a:bodyPr rtlCol="0" anchor="ctr"/>
              <a:lstStyle/>
              <a:p>
                <a:endParaRPr lang="en-DK"/>
              </a:p>
            </p:txBody>
          </p:sp>
          <p:sp>
            <p:nvSpPr>
              <p:cNvPr id="17" name="Freeform 16">
                <a:extLst>
                  <a:ext uri="{FF2B5EF4-FFF2-40B4-BE49-F238E27FC236}">
                    <a16:creationId xmlns:a16="http://schemas.microsoft.com/office/drawing/2014/main" id="{D445172E-8231-445A-4A88-B5E4F216E7BA}"/>
                  </a:ext>
                </a:extLst>
              </p:cNvPr>
              <p:cNvSpPr/>
              <p:nvPr/>
            </p:nvSpPr>
            <p:spPr>
              <a:xfrm>
                <a:off x="7812954" y="3289300"/>
                <a:ext cx="36425" cy="216069"/>
              </a:xfrm>
              <a:custGeom>
                <a:avLst/>
                <a:gdLst>
                  <a:gd name="connsiteX0" fmla="*/ 0 w 36425"/>
                  <a:gd name="connsiteY0" fmla="*/ 32969 h 216069"/>
                  <a:gd name="connsiteX1" fmla="*/ 0 w 36425"/>
                  <a:gd name="connsiteY1" fmla="*/ 0 h 216069"/>
                  <a:gd name="connsiteX2" fmla="*/ 36426 w 36425"/>
                  <a:gd name="connsiteY2" fmla="*/ 0 h 216069"/>
                  <a:gd name="connsiteX3" fmla="*/ 36426 w 36425"/>
                  <a:gd name="connsiteY3" fmla="*/ 32969 h 216069"/>
                  <a:gd name="connsiteX4" fmla="*/ 0 w 36425"/>
                  <a:gd name="connsiteY4" fmla="*/ 32969 h 216069"/>
                  <a:gd name="connsiteX5" fmla="*/ 1236 w 36425"/>
                  <a:gd name="connsiteY5" fmla="*/ 216069 h 216069"/>
                  <a:gd name="connsiteX6" fmla="*/ 1236 w 36425"/>
                  <a:gd name="connsiteY6" fmla="*/ 66032 h 216069"/>
                  <a:gd name="connsiteX7" fmla="*/ 35284 w 36425"/>
                  <a:gd name="connsiteY7" fmla="*/ 66032 h 216069"/>
                  <a:gd name="connsiteX8" fmla="*/ 35284 w 36425"/>
                  <a:gd name="connsiteY8" fmla="*/ 216069 h 216069"/>
                  <a:gd name="connsiteX9" fmla="*/ 1236 w 36425"/>
                  <a:gd name="connsiteY9" fmla="*/ 216069 h 2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25" h="216069">
                    <a:moveTo>
                      <a:pt x="0" y="32969"/>
                    </a:moveTo>
                    <a:lnTo>
                      <a:pt x="0" y="0"/>
                    </a:lnTo>
                    <a:lnTo>
                      <a:pt x="36426" y="0"/>
                    </a:lnTo>
                    <a:lnTo>
                      <a:pt x="36426" y="32969"/>
                    </a:lnTo>
                    <a:lnTo>
                      <a:pt x="0" y="32969"/>
                    </a:lnTo>
                    <a:close/>
                    <a:moveTo>
                      <a:pt x="1236" y="216069"/>
                    </a:moveTo>
                    <a:lnTo>
                      <a:pt x="1236" y="66032"/>
                    </a:lnTo>
                    <a:lnTo>
                      <a:pt x="35284" y="66032"/>
                    </a:lnTo>
                    <a:lnTo>
                      <a:pt x="35284" y="216069"/>
                    </a:lnTo>
                    <a:lnTo>
                      <a:pt x="1236" y="216069"/>
                    </a:lnTo>
                    <a:close/>
                  </a:path>
                </a:pathLst>
              </a:custGeom>
              <a:grpFill/>
              <a:ln w="9503" cap="flat">
                <a:noFill/>
                <a:prstDash val="solid"/>
                <a:miter/>
              </a:ln>
            </p:spPr>
            <p:txBody>
              <a:bodyPr rtlCol="0" anchor="ctr"/>
              <a:lstStyle/>
              <a:p>
                <a:endParaRPr lang="en-DK"/>
              </a:p>
            </p:txBody>
          </p:sp>
          <p:sp>
            <p:nvSpPr>
              <p:cNvPr id="18" name="Freeform 17">
                <a:extLst>
                  <a:ext uri="{FF2B5EF4-FFF2-40B4-BE49-F238E27FC236}">
                    <a16:creationId xmlns:a16="http://schemas.microsoft.com/office/drawing/2014/main" id="{1E31C2C6-581C-2149-75D1-BB190E11DDBC}"/>
                  </a:ext>
                </a:extLst>
              </p:cNvPr>
              <p:cNvSpPr/>
              <p:nvPr/>
            </p:nvSpPr>
            <p:spPr>
              <a:xfrm>
                <a:off x="7884664" y="3351140"/>
                <a:ext cx="147795" cy="158419"/>
              </a:xfrm>
              <a:custGeom>
                <a:avLst/>
                <a:gdLst>
                  <a:gd name="connsiteX0" fmla="*/ 73898 w 147795"/>
                  <a:gd name="connsiteY0" fmla="*/ 158420 h 158419"/>
                  <a:gd name="connsiteX1" fmla="*/ 0 w 147795"/>
                  <a:gd name="connsiteY1" fmla="*/ 78605 h 158419"/>
                  <a:gd name="connsiteX2" fmla="*/ 73898 w 147795"/>
                  <a:gd name="connsiteY2" fmla="*/ 0 h 158419"/>
                  <a:gd name="connsiteX3" fmla="*/ 147795 w 147795"/>
                  <a:gd name="connsiteY3" fmla="*/ 78605 h 158419"/>
                  <a:gd name="connsiteX4" fmla="*/ 73898 w 147795"/>
                  <a:gd name="connsiteY4" fmla="*/ 158420 h 158419"/>
                  <a:gd name="connsiteX5" fmla="*/ 73898 w 147795"/>
                  <a:gd name="connsiteY5" fmla="*/ 26357 h 158419"/>
                  <a:gd name="connsiteX6" fmla="*/ 34714 w 147795"/>
                  <a:gd name="connsiteY6" fmla="*/ 78605 h 158419"/>
                  <a:gd name="connsiteX7" fmla="*/ 73898 w 147795"/>
                  <a:gd name="connsiteY7" fmla="*/ 132063 h 158419"/>
                  <a:gd name="connsiteX8" fmla="*/ 113081 w 147795"/>
                  <a:gd name="connsiteY8" fmla="*/ 78605 h 158419"/>
                  <a:gd name="connsiteX9" fmla="*/ 73898 w 147795"/>
                  <a:gd name="connsiteY9" fmla="*/ 26357 h 1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95" h="158419">
                    <a:moveTo>
                      <a:pt x="73898" y="158420"/>
                    </a:moveTo>
                    <a:cubicBezTo>
                      <a:pt x="26725" y="158420"/>
                      <a:pt x="0" y="124799"/>
                      <a:pt x="0" y="78605"/>
                    </a:cubicBezTo>
                    <a:cubicBezTo>
                      <a:pt x="0" y="32410"/>
                      <a:pt x="27581" y="0"/>
                      <a:pt x="73898" y="0"/>
                    </a:cubicBezTo>
                    <a:cubicBezTo>
                      <a:pt x="120214" y="0"/>
                      <a:pt x="147795" y="32410"/>
                      <a:pt x="147795" y="78605"/>
                    </a:cubicBezTo>
                    <a:cubicBezTo>
                      <a:pt x="147795" y="124799"/>
                      <a:pt x="120214" y="158420"/>
                      <a:pt x="73898" y="158420"/>
                    </a:cubicBezTo>
                    <a:close/>
                    <a:moveTo>
                      <a:pt x="73898" y="26357"/>
                    </a:moveTo>
                    <a:cubicBezTo>
                      <a:pt x="47838" y="26357"/>
                      <a:pt x="34714" y="47405"/>
                      <a:pt x="34714" y="78605"/>
                    </a:cubicBezTo>
                    <a:cubicBezTo>
                      <a:pt x="34714" y="109804"/>
                      <a:pt x="48504" y="132063"/>
                      <a:pt x="73898" y="132063"/>
                    </a:cubicBezTo>
                    <a:cubicBezTo>
                      <a:pt x="99291" y="132063"/>
                      <a:pt x="113081" y="109897"/>
                      <a:pt x="113081" y="78605"/>
                    </a:cubicBezTo>
                    <a:cubicBezTo>
                      <a:pt x="113081" y="47312"/>
                      <a:pt x="99006" y="26357"/>
                      <a:pt x="73898" y="26357"/>
                    </a:cubicBezTo>
                    <a:close/>
                  </a:path>
                </a:pathLst>
              </a:custGeom>
              <a:grpFill/>
              <a:ln w="9503" cap="flat">
                <a:noFill/>
                <a:prstDash val="solid"/>
                <a:miter/>
              </a:ln>
            </p:spPr>
            <p:txBody>
              <a:bodyPr rtlCol="0" anchor="ctr"/>
              <a:lstStyle/>
              <a:p>
                <a:endParaRPr lang="en-DK"/>
              </a:p>
            </p:txBody>
          </p:sp>
          <p:sp>
            <p:nvSpPr>
              <p:cNvPr id="19" name="Freeform 18">
                <a:extLst>
                  <a:ext uri="{FF2B5EF4-FFF2-40B4-BE49-F238E27FC236}">
                    <a16:creationId xmlns:a16="http://schemas.microsoft.com/office/drawing/2014/main" id="{BC09C183-F5A8-636E-B18A-A7CAD3E69435}"/>
                  </a:ext>
                </a:extLst>
              </p:cNvPr>
              <p:cNvSpPr/>
              <p:nvPr/>
            </p:nvSpPr>
            <p:spPr>
              <a:xfrm>
                <a:off x="8066222" y="3351140"/>
                <a:ext cx="130105" cy="154228"/>
              </a:xfrm>
              <a:custGeom>
                <a:avLst/>
                <a:gdLst>
                  <a:gd name="connsiteX0" fmla="*/ 96248 w 130105"/>
                  <a:gd name="connsiteY0" fmla="*/ 154229 h 154228"/>
                  <a:gd name="connsiteX1" fmla="*/ 96248 w 130105"/>
                  <a:gd name="connsiteY1" fmla="*/ 67242 h 154228"/>
                  <a:gd name="connsiteX2" fmla="*/ 67716 w 130105"/>
                  <a:gd name="connsiteY2" fmla="*/ 27288 h 154228"/>
                  <a:gd name="connsiteX3" fmla="*/ 35570 w 130105"/>
                  <a:gd name="connsiteY3" fmla="*/ 47684 h 154228"/>
                  <a:gd name="connsiteX4" fmla="*/ 35570 w 130105"/>
                  <a:gd name="connsiteY4" fmla="*/ 154229 h 154228"/>
                  <a:gd name="connsiteX5" fmla="*/ 1522 w 130105"/>
                  <a:gd name="connsiteY5" fmla="*/ 154229 h 154228"/>
                  <a:gd name="connsiteX6" fmla="*/ 1522 w 130105"/>
                  <a:gd name="connsiteY6" fmla="*/ 31200 h 154228"/>
                  <a:gd name="connsiteX7" fmla="*/ 0 w 130105"/>
                  <a:gd name="connsiteY7" fmla="*/ 4191 h 154228"/>
                  <a:gd name="connsiteX8" fmla="*/ 26630 w 130105"/>
                  <a:gd name="connsiteY8" fmla="*/ 4191 h 154228"/>
                  <a:gd name="connsiteX9" fmla="*/ 29958 w 130105"/>
                  <a:gd name="connsiteY9" fmla="*/ 23376 h 154228"/>
                  <a:gd name="connsiteX10" fmla="*/ 75895 w 130105"/>
                  <a:gd name="connsiteY10" fmla="*/ 0 h 154228"/>
                  <a:gd name="connsiteX11" fmla="*/ 130105 w 130105"/>
                  <a:gd name="connsiteY11" fmla="*/ 69291 h 154228"/>
                  <a:gd name="connsiteX12" fmla="*/ 130105 w 130105"/>
                  <a:gd name="connsiteY12" fmla="*/ 154229 h 154228"/>
                  <a:gd name="connsiteX13" fmla="*/ 96057 w 130105"/>
                  <a:gd name="connsiteY13" fmla="*/ 154229 h 15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105" h="154228">
                    <a:moveTo>
                      <a:pt x="96248" y="154229"/>
                    </a:moveTo>
                    <a:lnTo>
                      <a:pt x="96248" y="67242"/>
                    </a:lnTo>
                    <a:cubicBezTo>
                      <a:pt x="96248" y="42934"/>
                      <a:pt x="91017" y="27288"/>
                      <a:pt x="67716" y="27288"/>
                    </a:cubicBezTo>
                    <a:cubicBezTo>
                      <a:pt x="53925" y="27288"/>
                      <a:pt x="43178" y="37533"/>
                      <a:pt x="35570" y="47684"/>
                    </a:cubicBezTo>
                    <a:lnTo>
                      <a:pt x="35570" y="154229"/>
                    </a:lnTo>
                    <a:lnTo>
                      <a:pt x="1522" y="154229"/>
                    </a:lnTo>
                    <a:lnTo>
                      <a:pt x="1522" y="31200"/>
                    </a:lnTo>
                    <a:cubicBezTo>
                      <a:pt x="1522" y="26077"/>
                      <a:pt x="285" y="9313"/>
                      <a:pt x="0" y="4191"/>
                    </a:cubicBezTo>
                    <a:lnTo>
                      <a:pt x="26630" y="4191"/>
                    </a:lnTo>
                    <a:lnTo>
                      <a:pt x="29958" y="23376"/>
                    </a:lnTo>
                    <a:cubicBezTo>
                      <a:pt x="39184" y="10803"/>
                      <a:pt x="54781" y="0"/>
                      <a:pt x="75895" y="0"/>
                    </a:cubicBezTo>
                    <a:cubicBezTo>
                      <a:pt x="115459" y="0"/>
                      <a:pt x="130105" y="21048"/>
                      <a:pt x="130105" y="69291"/>
                    </a:cubicBezTo>
                    <a:lnTo>
                      <a:pt x="130105" y="154229"/>
                    </a:lnTo>
                    <a:lnTo>
                      <a:pt x="96057" y="154229"/>
                    </a:lnTo>
                    <a:close/>
                  </a:path>
                </a:pathLst>
              </a:custGeom>
              <a:grpFill/>
              <a:ln w="9503" cap="flat">
                <a:noFill/>
                <a:prstDash val="solid"/>
                <a:miter/>
              </a:ln>
            </p:spPr>
            <p:txBody>
              <a:bodyPr rtlCol="0" anchor="ctr"/>
              <a:lstStyle/>
              <a:p>
                <a:endParaRPr lang="en-DK"/>
              </a:p>
            </p:txBody>
          </p:sp>
        </p:grpSp>
      </p:grpSp>
      <p:pic>
        <p:nvPicPr>
          <p:cNvPr id="5" name="Picture 4">
            <a:extLst>
              <a:ext uri="{FF2B5EF4-FFF2-40B4-BE49-F238E27FC236}">
                <a16:creationId xmlns:a16="http://schemas.microsoft.com/office/drawing/2014/main" id="{7E2325EA-FA81-10CA-E874-0334E5A9FFA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43175" y="1641105"/>
            <a:ext cx="1324800" cy="487343"/>
          </a:xfrm>
          <a:prstGeom prst="rect">
            <a:avLst/>
          </a:prstGeom>
        </p:spPr>
      </p:pic>
    </p:spTree>
    <p:extLst>
      <p:ext uri="{BB962C8B-B14F-4D97-AF65-F5344CB8AC3E}">
        <p14:creationId xmlns:p14="http://schemas.microsoft.com/office/powerpoint/2010/main" val="3658072874"/>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_BLUE_Statement_Jan_2025">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0C17468-27E3-884D-3986-521FAA9C105B}"/>
              </a:ext>
            </a:extLst>
          </p:cNvPr>
          <p:cNvSpPr>
            <a:spLocks noGrp="1" noRot="1" noMove="1" noResize="1" noEditPoints="1" noAdjustHandles="1" noChangeArrowheads="1" noChangeShapeType="1"/>
          </p:cNvSpPr>
          <p:nvPr userDrawn="1"/>
        </p:nvSpPr>
        <p:spPr>
          <a:xfrm>
            <a:off x="0" y="1"/>
            <a:ext cx="12191999" cy="6749999"/>
          </a:xfrm>
          <a:prstGeom prst="rect">
            <a:avLst/>
          </a:prstGeom>
          <a:solidFill>
            <a:schemeClr val="tx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Picture Placeholder 9">
            <a:extLst>
              <a:ext uri="{FF2B5EF4-FFF2-40B4-BE49-F238E27FC236}">
                <a16:creationId xmlns:a16="http://schemas.microsoft.com/office/drawing/2014/main" id="{CE9113E3-0C37-B5C8-5AE8-0668E1939C02}"/>
              </a:ext>
            </a:extLst>
          </p:cNvPr>
          <p:cNvSpPr>
            <a:spLocks noGrp="1" noRot="1" noMove="1" noResize="1" noEditPoints="1" noAdjustHandles="1" noChangeArrowheads="1" noChangeShapeType="1"/>
          </p:cNvSpPr>
          <p:nvPr>
            <p:ph type="pic" sz="quarter" idx="13"/>
          </p:nvPr>
        </p:nvSpPr>
        <p:spPr>
          <a:xfrm>
            <a:off x="0" y="0"/>
            <a:ext cx="12191999" cy="6749999"/>
          </a:xfrm>
        </p:spPr>
        <p:txBody>
          <a:bodyPr/>
          <a:lstStyle/>
          <a:p>
            <a:endParaRPr lang="en-DK"/>
          </a:p>
        </p:txBody>
      </p:sp>
      <p:sp>
        <p:nvSpPr>
          <p:cNvPr id="2" name="Title 1">
            <a:extLst>
              <a:ext uri="{FF2B5EF4-FFF2-40B4-BE49-F238E27FC236}">
                <a16:creationId xmlns:a16="http://schemas.microsoft.com/office/drawing/2014/main" id="{7EDD364F-3FE9-18C1-56D4-52A88C82DF6C}"/>
              </a:ext>
            </a:extLst>
          </p:cNvPr>
          <p:cNvSpPr>
            <a:spLocks noGrp="1" noRot="1" noMove="1" noResize="1" noEditPoints="1" noAdjustHandles="1" noChangeArrowheads="1" noChangeShapeType="1"/>
          </p:cNvSpPr>
          <p:nvPr>
            <p:ph type="title"/>
          </p:nvPr>
        </p:nvSpPr>
        <p:spPr>
          <a:xfrm>
            <a:off x="2027238" y="1566075"/>
            <a:ext cx="8137525" cy="3725848"/>
          </a:xfrm>
        </p:spPr>
        <p:txBody>
          <a:bodyPr lIns="0" tIns="0" rIns="0" bIns="0" anchor="ctr">
            <a:noAutofit/>
          </a:bodyPr>
          <a:lstStyle>
            <a:lvl1pPr algn="l">
              <a:defRPr sz="2800" b="1">
                <a:solidFill>
                  <a:schemeClr val="bg2"/>
                </a:solidFill>
              </a:defRPr>
            </a:lvl1pPr>
          </a:lstStyle>
          <a:p>
            <a:r>
              <a:rPr lang="en-GB"/>
              <a:t>Click to edit Master title style</a:t>
            </a:r>
            <a:endParaRPr lang="en-DK"/>
          </a:p>
        </p:txBody>
      </p:sp>
      <p:pic>
        <p:nvPicPr>
          <p:cNvPr id="3" name="Picture 2">
            <a:extLst>
              <a:ext uri="{FF2B5EF4-FFF2-40B4-BE49-F238E27FC236}">
                <a16:creationId xmlns:a16="http://schemas.microsoft.com/office/drawing/2014/main" id="{5FB252A7-2781-D817-897F-61CCF2332A6A}"/>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Slide Number Placeholder 4">
            <a:extLst>
              <a:ext uri="{FF2B5EF4-FFF2-40B4-BE49-F238E27FC236}">
                <a16:creationId xmlns:a16="http://schemas.microsoft.com/office/drawing/2014/main" id="{82A8C74A-3EAA-07B5-A472-2507F9B5D4B9}"/>
              </a:ext>
            </a:extLst>
          </p:cNvPr>
          <p:cNvSpPr>
            <a:spLocks noGrp="1"/>
          </p:cNvSpPr>
          <p:nvPr>
            <p:ph type="sldNum" sz="quarter" idx="15"/>
          </p:nvPr>
        </p:nvSpPr>
        <p:spPr/>
        <p:txBody>
          <a:bodyPr/>
          <a:lstStyle/>
          <a:p>
            <a:fld id="{64D2DCB6-719E-0F43-A160-E508323EF71D}" type="slidenum">
              <a:rPr lang="en-DK" smtClean="0"/>
              <a:pPr/>
              <a:t>‹#›</a:t>
            </a:fld>
            <a:endParaRPr lang="en-DK"/>
          </a:p>
        </p:txBody>
      </p:sp>
    </p:spTree>
    <p:extLst>
      <p:ext uri="{BB962C8B-B14F-4D97-AF65-F5344CB8AC3E}">
        <p14:creationId xmlns:p14="http://schemas.microsoft.com/office/powerpoint/2010/main" val="2256997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BLUE_Title, Column_Jan_202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4C4177-C8DA-E455-ADE2-E92471A0CC50}"/>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2" name="Graphic 1">
            <a:extLst>
              <a:ext uri="{FF2B5EF4-FFF2-40B4-BE49-F238E27FC236}">
                <a16:creationId xmlns:a16="http://schemas.microsoft.com/office/drawing/2014/main" id="{154DE951-0B4A-3C8B-A930-3788A9E84285}"/>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913" y="1053025"/>
            <a:ext cx="540000" cy="36000"/>
          </a:xfrm>
          <a:prstGeom prst="rect">
            <a:avLst/>
          </a:prstGeom>
        </p:spPr>
      </p:pic>
      <p:sp>
        <p:nvSpPr>
          <p:cNvPr id="7" name="Title 1">
            <a:extLst>
              <a:ext uri="{FF2B5EF4-FFF2-40B4-BE49-F238E27FC236}">
                <a16:creationId xmlns:a16="http://schemas.microsoft.com/office/drawing/2014/main" id="{90864DA6-271C-AA20-867C-30DEF22E92DC}"/>
              </a:ext>
            </a:extLst>
          </p:cNvPr>
          <p:cNvSpPr>
            <a:spLocks noGrp="1"/>
          </p:cNvSpPr>
          <p:nvPr>
            <p:ph type="title"/>
          </p:nvPr>
        </p:nvSpPr>
        <p:spPr>
          <a:xfrm>
            <a:off x="442912" y="-1"/>
            <a:ext cx="11306175" cy="907200"/>
          </a:xfrm>
        </p:spPr>
        <p:txBody>
          <a:bodyPr anchor="b" anchorCtr="0">
            <a:noAutofit/>
          </a:bodyPr>
          <a:lstStyle>
            <a:lvl1pPr>
              <a:defRPr sz="2400" b="1">
                <a:solidFill>
                  <a:schemeClr val="bg1"/>
                </a:solidFill>
              </a:defRPr>
            </a:lvl1pPr>
          </a:lstStyle>
          <a:p>
            <a:r>
              <a:rPr lang="en-GB"/>
              <a:t>Click to edit Master title style</a:t>
            </a:r>
            <a:endParaRPr lang="en-DK"/>
          </a:p>
        </p:txBody>
      </p:sp>
      <p:sp>
        <p:nvSpPr>
          <p:cNvPr id="8" name="Content Placeholder 2">
            <a:extLst>
              <a:ext uri="{FF2B5EF4-FFF2-40B4-BE49-F238E27FC236}">
                <a16:creationId xmlns:a16="http://schemas.microsoft.com/office/drawing/2014/main" id="{1A6FEFD5-A3CC-C21E-4E92-204D7DBC5C7E}"/>
              </a:ext>
            </a:extLst>
          </p:cNvPr>
          <p:cNvSpPr>
            <a:spLocks noGrp="1"/>
          </p:cNvSpPr>
          <p:nvPr>
            <p:ph idx="1"/>
          </p:nvPr>
        </p:nvSpPr>
        <p:spPr>
          <a:xfrm>
            <a:off x="442913" y="1268412"/>
            <a:ext cx="11306174" cy="4287600"/>
          </a:xfrm>
        </p:spPr>
        <p:txBody>
          <a:bodyPr wrap="square">
            <a:no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Slide Number Placeholder 4">
            <a:extLst>
              <a:ext uri="{FF2B5EF4-FFF2-40B4-BE49-F238E27FC236}">
                <a16:creationId xmlns:a16="http://schemas.microsoft.com/office/drawing/2014/main" id="{C5E2DFD3-80EC-5B02-C2DE-C46B63B31EB7}"/>
              </a:ext>
            </a:extLst>
          </p:cNvPr>
          <p:cNvSpPr>
            <a:spLocks noGrp="1"/>
          </p:cNvSpPr>
          <p:nvPr>
            <p:ph type="sldNum" sz="quarter" idx="11"/>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3FDBE7F4-31DA-5F99-44DA-D0CF0D04C0EF}"/>
              </a:ext>
            </a:extLst>
          </p:cNvPr>
          <p:cNvSpPr>
            <a:spLocks noGrp="1"/>
          </p:cNvSpPr>
          <p:nvPr>
            <p:ph type="ftr" sz="quarter" idx="12"/>
          </p:nvPr>
        </p:nvSpPr>
        <p:spPr/>
        <p:txBody>
          <a:bodyPr/>
          <a:lstStyle/>
          <a:p>
            <a:endParaRPr lang="en-IE"/>
          </a:p>
        </p:txBody>
      </p:sp>
    </p:spTree>
    <p:extLst>
      <p:ext uri="{BB962C8B-B14F-4D97-AF65-F5344CB8AC3E}">
        <p14:creationId xmlns:p14="http://schemas.microsoft.com/office/powerpoint/2010/main" val="9250303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lumn Header">
    <p:spTree>
      <p:nvGrpSpPr>
        <p:cNvPr id="1" name=""/>
        <p:cNvGrpSpPr/>
        <p:nvPr/>
      </p:nvGrpSpPr>
      <p:grpSpPr>
        <a:xfrm>
          <a:off x="0" y="0"/>
          <a:ext cx="0" cy="0"/>
          <a:chOff x="0" y="0"/>
          <a:chExt cx="0" cy="0"/>
        </a:xfrm>
      </p:grpSpPr>
      <p:sp>
        <p:nvSpPr>
          <p:cNvPr id="4" name="Text Placeholder 18"/>
          <p:cNvSpPr>
            <a:spLocks noGrp="1"/>
          </p:cNvSpPr>
          <p:nvPr>
            <p:ph type="body" sz="quarter" idx="11"/>
          </p:nvPr>
        </p:nvSpPr>
        <p:spPr>
          <a:xfrm>
            <a:off x="230718" y="1924051"/>
            <a:ext cx="11669183" cy="4116916"/>
          </a:xfrm>
          <a:prstGeom prst="rect">
            <a:avLst/>
          </a:prstGeom>
        </p:spPr>
        <p:txBody>
          <a:bodyPr/>
          <a:lstStyle>
            <a:lvl1pPr>
              <a:defRPr sz="2133">
                <a:solidFill>
                  <a:srgbClr val="7F7F7F"/>
                </a:solidFill>
                <a:latin typeface="Arial"/>
                <a:cs typeface="Arial"/>
              </a:defRPr>
            </a:lvl1pPr>
            <a:lvl2pPr marL="461422" indent="-457189">
              <a:buClr>
                <a:srgbClr val="00AEB2"/>
              </a:buClr>
              <a:defRPr sz="2133">
                <a:solidFill>
                  <a:srgbClr val="7F7F7F"/>
                </a:solidFill>
                <a:latin typeface="Arial"/>
                <a:cs typeface="Arial"/>
              </a:defRPr>
            </a:lvl2pPr>
            <a:lvl3pPr marL="1217054" indent="-457189">
              <a:buClr>
                <a:srgbClr val="F68A1E"/>
              </a:buClr>
              <a:defRPr sz="2133">
                <a:solidFill>
                  <a:srgbClr val="7F7F7F"/>
                </a:solidFill>
                <a:latin typeface="Arial"/>
                <a:cs typeface="Arial"/>
              </a:defRPr>
            </a:lvl3pPr>
            <a:lvl4pPr marL="1826638" indent="-457189">
              <a:buClr>
                <a:srgbClr val="00707E"/>
              </a:buClr>
              <a:defRPr sz="2133">
                <a:solidFill>
                  <a:srgbClr val="7F7F7F"/>
                </a:solidFill>
                <a:latin typeface="Arial"/>
                <a:cs typeface="Arial"/>
              </a:defRPr>
            </a:lvl4pPr>
            <a:lvl5pPr marL="2446805" indent="-457189">
              <a:buClr>
                <a:srgbClr val="F0B323"/>
              </a:buClr>
              <a:defRPr sz="2133">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1"/>
          <p:cNvSpPr>
            <a:spLocks noGrp="1"/>
          </p:cNvSpPr>
          <p:nvPr>
            <p:ph type="body" sz="quarter" idx="12" hasCustomPrompt="1"/>
          </p:nvPr>
        </p:nvSpPr>
        <p:spPr>
          <a:xfrm>
            <a:off x="230718" y="1259418"/>
            <a:ext cx="11669183" cy="664633"/>
          </a:xfrm>
          <a:prstGeom prst="rect">
            <a:avLst/>
          </a:prstGeom>
        </p:spPr>
        <p:txBody>
          <a:bodyPr vert="horz"/>
          <a:lstStyle>
            <a:lvl1pPr>
              <a:defRPr sz="3200" baseline="0">
                <a:solidFill>
                  <a:srgbClr val="F05A22"/>
                </a:solidFill>
                <a:latin typeface="Arial"/>
                <a:cs typeface="Arial"/>
              </a:defRPr>
            </a:lvl1pPr>
          </a:lstStyle>
          <a:p>
            <a:pPr lvl="0"/>
            <a:r>
              <a:rPr lang="en-US" dirty="0"/>
              <a:t>Click to Enter Header</a:t>
            </a:r>
          </a:p>
        </p:txBody>
      </p:sp>
      <p:sp>
        <p:nvSpPr>
          <p:cNvPr id="8" name="Text Placeholder 7"/>
          <p:cNvSpPr>
            <a:spLocks noGrp="1"/>
          </p:cNvSpPr>
          <p:nvPr>
            <p:ph type="body" sz="quarter" idx="13" hasCustomPrompt="1"/>
          </p:nvPr>
        </p:nvSpPr>
        <p:spPr>
          <a:xfrm>
            <a:off x="298451" y="278651"/>
            <a:ext cx="8252883" cy="483348"/>
          </a:xfrm>
          <a:prstGeom prst="rect">
            <a:avLst/>
          </a:prstGeom>
        </p:spPr>
        <p:txBody>
          <a:bodyPr vert="horz"/>
          <a:lstStyle>
            <a:lvl1pPr>
              <a:defRPr sz="1867" b="1" spc="267" baseline="0">
                <a:solidFill>
                  <a:srgbClr val="FFFFFF"/>
                </a:solidFill>
                <a:latin typeface="Arial"/>
                <a:cs typeface="Arial"/>
              </a:defRPr>
            </a:lvl1pPr>
            <a:lvl2pPr>
              <a:defRPr sz="1467" b="1">
                <a:solidFill>
                  <a:srgbClr val="FFFFFF"/>
                </a:solidFill>
                <a:latin typeface="Helvetica"/>
                <a:cs typeface="Helvetica"/>
              </a:defRPr>
            </a:lvl2pPr>
            <a:lvl3pPr>
              <a:defRPr sz="1467" b="1">
                <a:solidFill>
                  <a:srgbClr val="FFFFFF"/>
                </a:solidFill>
                <a:latin typeface="Helvetica"/>
                <a:cs typeface="Helvetica"/>
              </a:defRPr>
            </a:lvl3pPr>
            <a:lvl4pPr>
              <a:defRPr sz="1467" b="1">
                <a:solidFill>
                  <a:srgbClr val="FFFFFF"/>
                </a:solidFill>
                <a:latin typeface="Helvetica"/>
                <a:cs typeface="Helvetica"/>
              </a:defRPr>
            </a:lvl4pPr>
            <a:lvl5pPr>
              <a:defRPr sz="1467" b="1">
                <a:solidFill>
                  <a:srgbClr val="FFFFFF"/>
                </a:solidFill>
                <a:latin typeface="Helvetica"/>
                <a:cs typeface="Helvetica"/>
              </a:defRPr>
            </a:lvl5pPr>
          </a:lstStyle>
          <a:p>
            <a:pPr lvl="0"/>
            <a:r>
              <a:rPr lang="en-US" dirty="0"/>
              <a:t>CLICK TO ENTER PRESENTATION OR SECTION TITLE</a:t>
            </a:r>
          </a:p>
        </p:txBody>
      </p:sp>
      <p:sp>
        <p:nvSpPr>
          <p:cNvPr id="2" name="Slide Number Placeholder 3">
            <a:extLst>
              <a:ext uri="{FF2B5EF4-FFF2-40B4-BE49-F238E27FC236}">
                <a16:creationId xmlns:a16="http://schemas.microsoft.com/office/drawing/2014/main" id="{96957083-1CA8-4D59-0F5F-2C66E8FD66A6}"/>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7889324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_BLUE_Right Image, Column_Jan_202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4C4177-C8DA-E455-ADE2-E92471A0CC50}"/>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2" name="Graphic 1">
            <a:extLst>
              <a:ext uri="{FF2B5EF4-FFF2-40B4-BE49-F238E27FC236}">
                <a16:creationId xmlns:a16="http://schemas.microsoft.com/office/drawing/2014/main" id="{154DE951-0B4A-3C8B-A930-3788A9E84285}"/>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913" y="1053025"/>
            <a:ext cx="540000" cy="36000"/>
          </a:xfrm>
          <a:prstGeom prst="rect">
            <a:avLst/>
          </a:prstGeom>
        </p:spPr>
      </p:pic>
      <p:sp>
        <p:nvSpPr>
          <p:cNvPr id="7" name="Title 1">
            <a:extLst>
              <a:ext uri="{FF2B5EF4-FFF2-40B4-BE49-F238E27FC236}">
                <a16:creationId xmlns:a16="http://schemas.microsoft.com/office/drawing/2014/main" id="{90864DA6-271C-AA20-867C-30DEF22E92DC}"/>
              </a:ext>
            </a:extLst>
          </p:cNvPr>
          <p:cNvSpPr>
            <a:spLocks noGrp="1"/>
          </p:cNvSpPr>
          <p:nvPr>
            <p:ph type="title"/>
          </p:nvPr>
        </p:nvSpPr>
        <p:spPr>
          <a:xfrm>
            <a:off x="442914" y="-1"/>
            <a:ext cx="7237412" cy="907200"/>
          </a:xfrm>
        </p:spPr>
        <p:txBody>
          <a:bodyPr anchor="b" anchorCtr="0">
            <a:noAutofit/>
          </a:bodyPr>
          <a:lstStyle>
            <a:lvl1pPr>
              <a:defRPr sz="2400" b="1">
                <a:solidFill>
                  <a:schemeClr val="bg1"/>
                </a:solidFill>
              </a:defRPr>
            </a:lvl1pPr>
          </a:lstStyle>
          <a:p>
            <a:r>
              <a:rPr lang="en-GB"/>
              <a:t>Click to edit Master title style</a:t>
            </a:r>
            <a:endParaRPr lang="en-DK"/>
          </a:p>
        </p:txBody>
      </p:sp>
      <p:sp>
        <p:nvSpPr>
          <p:cNvPr id="8" name="Content Placeholder 2">
            <a:extLst>
              <a:ext uri="{FF2B5EF4-FFF2-40B4-BE49-F238E27FC236}">
                <a16:creationId xmlns:a16="http://schemas.microsoft.com/office/drawing/2014/main" id="{1A6FEFD5-A3CC-C21E-4E92-204D7DBC5C7E}"/>
              </a:ext>
            </a:extLst>
          </p:cNvPr>
          <p:cNvSpPr>
            <a:spLocks noGrp="1"/>
          </p:cNvSpPr>
          <p:nvPr>
            <p:ph idx="1"/>
          </p:nvPr>
        </p:nvSpPr>
        <p:spPr>
          <a:xfrm>
            <a:off x="442913" y="1268412"/>
            <a:ext cx="7237412" cy="4287600"/>
          </a:xfrm>
        </p:spPr>
        <p:txBody>
          <a:bodyPr wrap="square">
            <a:no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Picture Placeholder 9">
            <a:extLst>
              <a:ext uri="{FF2B5EF4-FFF2-40B4-BE49-F238E27FC236}">
                <a16:creationId xmlns:a16="http://schemas.microsoft.com/office/drawing/2014/main" id="{6228B924-EB30-A541-DBDB-06100B90A1B2}"/>
              </a:ext>
            </a:extLst>
          </p:cNvPr>
          <p:cNvSpPr>
            <a:spLocks noGrp="1"/>
          </p:cNvSpPr>
          <p:nvPr>
            <p:ph type="pic" sz="quarter" idx="13"/>
          </p:nvPr>
        </p:nvSpPr>
        <p:spPr>
          <a:xfrm>
            <a:off x="8112124" y="0"/>
            <a:ext cx="4079875" cy="6748332"/>
          </a:xfrm>
        </p:spPr>
        <p:txBody>
          <a:bodyPr/>
          <a:lstStyle/>
          <a:p>
            <a:endParaRPr lang="en-DK"/>
          </a:p>
        </p:txBody>
      </p:sp>
      <p:sp>
        <p:nvSpPr>
          <p:cNvPr id="6" name="Slide Number Placeholder 5">
            <a:extLst>
              <a:ext uri="{FF2B5EF4-FFF2-40B4-BE49-F238E27FC236}">
                <a16:creationId xmlns:a16="http://schemas.microsoft.com/office/drawing/2014/main" id="{66D6CC39-9ADA-33F8-45B8-64C307D6EC20}"/>
              </a:ext>
            </a:extLst>
          </p:cNvPr>
          <p:cNvSpPr>
            <a:spLocks noGrp="1"/>
          </p:cNvSpPr>
          <p:nvPr>
            <p:ph type="sldNum" sz="quarter" idx="15"/>
          </p:nvPr>
        </p:nvSpPr>
        <p:spPr/>
        <p:txBody>
          <a:bodyPr/>
          <a:lstStyle/>
          <a:p>
            <a:fld id="{64D2DCB6-719E-0F43-A160-E508323EF71D}" type="slidenum">
              <a:rPr lang="en-DK" smtClean="0"/>
              <a:pPr/>
              <a:t>‹#›</a:t>
            </a:fld>
            <a:endParaRPr lang="en-DK"/>
          </a:p>
        </p:txBody>
      </p:sp>
      <p:sp>
        <p:nvSpPr>
          <p:cNvPr id="9" name="Footer Placeholder 8">
            <a:extLst>
              <a:ext uri="{FF2B5EF4-FFF2-40B4-BE49-F238E27FC236}">
                <a16:creationId xmlns:a16="http://schemas.microsoft.com/office/drawing/2014/main" id="{A90AE4FC-6878-503C-8822-CE0C2A25D669}"/>
              </a:ext>
            </a:extLst>
          </p:cNvPr>
          <p:cNvSpPr>
            <a:spLocks noGrp="1"/>
          </p:cNvSpPr>
          <p:nvPr>
            <p:ph type="ftr" sz="quarter" idx="16"/>
          </p:nvPr>
        </p:nvSpPr>
        <p:spPr/>
        <p:txBody>
          <a:bodyPr/>
          <a:lstStyle/>
          <a:p>
            <a:endParaRPr lang="en-IE"/>
          </a:p>
        </p:txBody>
      </p:sp>
    </p:spTree>
    <p:extLst>
      <p:ext uri="{BB962C8B-B14F-4D97-AF65-F5344CB8AC3E}">
        <p14:creationId xmlns:p14="http://schemas.microsoft.com/office/powerpoint/2010/main" val="37105933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_BLUE_Right Image, Column_Jan_202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4C4177-C8DA-E455-ADE2-E92471A0CC50}"/>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2" name="Graphic 1">
            <a:extLst>
              <a:ext uri="{FF2B5EF4-FFF2-40B4-BE49-F238E27FC236}">
                <a16:creationId xmlns:a16="http://schemas.microsoft.com/office/drawing/2014/main" id="{154DE951-0B4A-3C8B-A930-3788A9E84285}"/>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913" y="1053025"/>
            <a:ext cx="540000" cy="36000"/>
          </a:xfrm>
          <a:prstGeom prst="rect">
            <a:avLst/>
          </a:prstGeom>
        </p:spPr>
      </p:pic>
      <p:sp>
        <p:nvSpPr>
          <p:cNvPr id="7" name="Title 1">
            <a:extLst>
              <a:ext uri="{FF2B5EF4-FFF2-40B4-BE49-F238E27FC236}">
                <a16:creationId xmlns:a16="http://schemas.microsoft.com/office/drawing/2014/main" id="{90864DA6-271C-AA20-867C-30DEF22E92DC}"/>
              </a:ext>
            </a:extLst>
          </p:cNvPr>
          <p:cNvSpPr>
            <a:spLocks noGrp="1"/>
          </p:cNvSpPr>
          <p:nvPr>
            <p:ph type="title"/>
          </p:nvPr>
        </p:nvSpPr>
        <p:spPr>
          <a:xfrm>
            <a:off x="442914" y="-1"/>
            <a:ext cx="5221287" cy="907200"/>
          </a:xfrm>
        </p:spPr>
        <p:txBody>
          <a:bodyPr anchor="b" anchorCtr="0">
            <a:noAutofit/>
          </a:bodyPr>
          <a:lstStyle>
            <a:lvl1pPr>
              <a:defRPr sz="2400" b="1">
                <a:solidFill>
                  <a:schemeClr val="bg1"/>
                </a:solidFill>
              </a:defRPr>
            </a:lvl1pPr>
          </a:lstStyle>
          <a:p>
            <a:r>
              <a:rPr lang="en-GB"/>
              <a:t>Click to edit Master title style</a:t>
            </a:r>
            <a:endParaRPr lang="en-DK"/>
          </a:p>
        </p:txBody>
      </p:sp>
      <p:sp>
        <p:nvSpPr>
          <p:cNvPr id="8" name="Content Placeholder 2">
            <a:extLst>
              <a:ext uri="{FF2B5EF4-FFF2-40B4-BE49-F238E27FC236}">
                <a16:creationId xmlns:a16="http://schemas.microsoft.com/office/drawing/2014/main" id="{1A6FEFD5-A3CC-C21E-4E92-204D7DBC5C7E}"/>
              </a:ext>
            </a:extLst>
          </p:cNvPr>
          <p:cNvSpPr>
            <a:spLocks noGrp="1"/>
          </p:cNvSpPr>
          <p:nvPr>
            <p:ph idx="1"/>
          </p:nvPr>
        </p:nvSpPr>
        <p:spPr>
          <a:xfrm>
            <a:off x="442913" y="1268412"/>
            <a:ext cx="5221287" cy="4287600"/>
          </a:xfrm>
        </p:spPr>
        <p:txBody>
          <a:bodyPr wrap="square">
            <a:no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Picture Placeholder 9">
            <a:extLst>
              <a:ext uri="{FF2B5EF4-FFF2-40B4-BE49-F238E27FC236}">
                <a16:creationId xmlns:a16="http://schemas.microsoft.com/office/drawing/2014/main" id="{6228B924-EB30-A541-DBDB-06100B90A1B2}"/>
              </a:ext>
            </a:extLst>
          </p:cNvPr>
          <p:cNvSpPr>
            <a:spLocks noGrp="1"/>
          </p:cNvSpPr>
          <p:nvPr>
            <p:ph type="pic" sz="quarter" idx="13"/>
          </p:nvPr>
        </p:nvSpPr>
        <p:spPr>
          <a:xfrm>
            <a:off x="6096000" y="0"/>
            <a:ext cx="6095999" cy="6748332"/>
          </a:xfrm>
        </p:spPr>
        <p:txBody>
          <a:bodyPr/>
          <a:lstStyle/>
          <a:p>
            <a:endParaRPr lang="en-DK"/>
          </a:p>
        </p:txBody>
      </p:sp>
      <p:sp>
        <p:nvSpPr>
          <p:cNvPr id="6" name="Slide Number Placeholder 5">
            <a:extLst>
              <a:ext uri="{FF2B5EF4-FFF2-40B4-BE49-F238E27FC236}">
                <a16:creationId xmlns:a16="http://schemas.microsoft.com/office/drawing/2014/main" id="{66D6CC39-9ADA-33F8-45B8-64C307D6EC20}"/>
              </a:ext>
            </a:extLst>
          </p:cNvPr>
          <p:cNvSpPr>
            <a:spLocks noGrp="1"/>
          </p:cNvSpPr>
          <p:nvPr>
            <p:ph type="sldNum" sz="quarter" idx="15"/>
          </p:nvPr>
        </p:nvSpPr>
        <p:spPr/>
        <p:txBody>
          <a:bodyPr/>
          <a:lstStyle/>
          <a:p>
            <a:fld id="{64D2DCB6-719E-0F43-A160-E508323EF71D}" type="slidenum">
              <a:rPr lang="en-DK" smtClean="0"/>
              <a:pPr/>
              <a:t>‹#›</a:t>
            </a:fld>
            <a:endParaRPr lang="en-DK"/>
          </a:p>
        </p:txBody>
      </p:sp>
      <p:sp>
        <p:nvSpPr>
          <p:cNvPr id="9" name="Footer Placeholder 8">
            <a:extLst>
              <a:ext uri="{FF2B5EF4-FFF2-40B4-BE49-F238E27FC236}">
                <a16:creationId xmlns:a16="http://schemas.microsoft.com/office/drawing/2014/main" id="{A90AE4FC-6878-503C-8822-CE0C2A25D669}"/>
              </a:ext>
            </a:extLst>
          </p:cNvPr>
          <p:cNvSpPr>
            <a:spLocks noGrp="1"/>
          </p:cNvSpPr>
          <p:nvPr>
            <p:ph type="ftr" sz="quarter" idx="16"/>
          </p:nvPr>
        </p:nvSpPr>
        <p:spPr/>
        <p:txBody>
          <a:bodyPr/>
          <a:lstStyle/>
          <a:p>
            <a:endParaRPr lang="en-IE"/>
          </a:p>
        </p:txBody>
      </p:sp>
    </p:spTree>
    <p:extLst>
      <p:ext uri="{BB962C8B-B14F-4D97-AF65-F5344CB8AC3E}">
        <p14:creationId xmlns:p14="http://schemas.microsoft.com/office/powerpoint/2010/main" val="19327587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BLUE_Two Column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1"/>
            <a:ext cx="11306175" cy="907200"/>
          </a:xfrm>
        </p:spPr>
        <p:txBody>
          <a:bodyPr anchor="b" anchorCtr="0">
            <a:noAutofit/>
          </a:bodyPr>
          <a:lstStyle>
            <a:lvl1pPr>
              <a:defRPr sz="2400" b="1">
                <a:solidFill>
                  <a:schemeClr val="bg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3" y="1268412"/>
            <a:ext cx="5221288" cy="4287600"/>
          </a:xfrm>
        </p:spPr>
        <p:txBody>
          <a:bodyPr wrap="square">
            <a:no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Content Placeholder 2">
            <a:extLst>
              <a:ext uri="{FF2B5EF4-FFF2-40B4-BE49-F238E27FC236}">
                <a16:creationId xmlns:a16="http://schemas.microsoft.com/office/drawing/2014/main" id="{11C4CE89-9402-1BF0-A9EE-FE765B4AA7BE}"/>
              </a:ext>
            </a:extLst>
          </p:cNvPr>
          <p:cNvSpPr>
            <a:spLocks noGrp="1"/>
          </p:cNvSpPr>
          <p:nvPr>
            <p:ph idx="10"/>
          </p:nvPr>
        </p:nvSpPr>
        <p:spPr>
          <a:xfrm>
            <a:off x="6527799" y="1268412"/>
            <a:ext cx="5221288" cy="4287600"/>
          </a:xfrm>
        </p:spPr>
        <p:txBody>
          <a:bodyPr wrap="square">
            <a:no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Slide Number Placeholder 4">
            <a:extLst>
              <a:ext uri="{FF2B5EF4-FFF2-40B4-BE49-F238E27FC236}">
                <a16:creationId xmlns:a16="http://schemas.microsoft.com/office/drawing/2014/main" id="{A24AB29B-4B95-3B45-32BD-93DB69803EB6}"/>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179B7755-8877-5E83-2239-631EB84B56B6}"/>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4203200079"/>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BLUE_Grey Boxes_Jan_2025">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3" y="1268413"/>
            <a:ext cx="5221288" cy="4287600"/>
          </a:xfrm>
          <a:solidFill>
            <a:schemeClr val="bg1">
              <a:lumMod val="95000"/>
            </a:schemeClr>
          </a:solidFill>
        </p:spPr>
        <p:txBody>
          <a:bodyPr wrap="square" lIns="288000" tIns="288000" rIns="288000" bIns="288000">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Content Placeholder 2">
            <a:extLst>
              <a:ext uri="{FF2B5EF4-FFF2-40B4-BE49-F238E27FC236}">
                <a16:creationId xmlns:a16="http://schemas.microsoft.com/office/drawing/2014/main" id="{11C4CE89-9402-1BF0-A9EE-FE765B4AA7BE}"/>
              </a:ext>
            </a:extLst>
          </p:cNvPr>
          <p:cNvSpPr>
            <a:spLocks noGrp="1"/>
          </p:cNvSpPr>
          <p:nvPr>
            <p:ph idx="10"/>
          </p:nvPr>
        </p:nvSpPr>
        <p:spPr>
          <a:xfrm>
            <a:off x="6527800" y="1268413"/>
            <a:ext cx="5221287" cy="4287600"/>
          </a:xfrm>
          <a:solidFill>
            <a:schemeClr val="bg1">
              <a:lumMod val="95000"/>
            </a:schemeClr>
          </a:solidFill>
        </p:spPr>
        <p:txBody>
          <a:bodyPr wrap="square" lIns="288000" tIns="288000" rIns="288000" bIns="288000">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Title 3">
            <a:extLst>
              <a:ext uri="{FF2B5EF4-FFF2-40B4-BE49-F238E27FC236}">
                <a16:creationId xmlns:a16="http://schemas.microsoft.com/office/drawing/2014/main" id="{BC304EDA-88B6-1983-A5A2-653CC9826A8A}"/>
              </a:ext>
            </a:extLst>
          </p:cNvPr>
          <p:cNvSpPr>
            <a:spLocks noGrp="1"/>
          </p:cNvSpPr>
          <p:nvPr>
            <p:ph type="title"/>
          </p:nvPr>
        </p:nvSpPr>
        <p:spPr>
          <a:xfrm>
            <a:off x="442912" y="0"/>
            <a:ext cx="11306175" cy="907200"/>
          </a:xfrm>
        </p:spPr>
        <p:txBody>
          <a:bodyPr>
            <a:noAutofit/>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AB634D17-1A6F-1BD4-05B4-8BAE0AA88021}"/>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5" name="Footer Placeholder 4">
            <a:extLst>
              <a:ext uri="{FF2B5EF4-FFF2-40B4-BE49-F238E27FC236}">
                <a16:creationId xmlns:a16="http://schemas.microsoft.com/office/drawing/2014/main" id="{37A496F3-83D3-BB67-DE4B-89A9CBD7F9FC}"/>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849960972"/>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BLUE_Image, Title, Column_Jan_2025">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2AE62A51-46C2-0E2E-95F4-DC5CDC5584AE}"/>
              </a:ext>
            </a:extLst>
          </p:cNvPr>
          <p:cNvSpPr>
            <a:spLocks noGrp="1"/>
          </p:cNvSpPr>
          <p:nvPr>
            <p:ph type="pic" sz="quarter" idx="13"/>
          </p:nvPr>
        </p:nvSpPr>
        <p:spPr>
          <a:xfrm>
            <a:off x="1" y="0"/>
            <a:ext cx="4079874" cy="6750000"/>
          </a:xfrm>
        </p:spPr>
        <p:txBody>
          <a:bodyPr/>
          <a:lstStyle>
            <a:lvl1pPr>
              <a:defRPr>
                <a:solidFill>
                  <a:schemeClr val="bg1"/>
                </a:solidFill>
              </a:defRPr>
            </a:lvl1pPr>
          </a:lstStyle>
          <a:p>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4507578" y="1268412"/>
            <a:ext cx="7241510" cy="4287600"/>
          </a:xfrm>
        </p:spPr>
        <p:txBody>
          <a:bodyPr wrap="square" anchor="t">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1C3A6C96-FEB0-8910-4086-6A6541454535}"/>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9" name="Title 8">
            <a:extLst>
              <a:ext uri="{FF2B5EF4-FFF2-40B4-BE49-F238E27FC236}">
                <a16:creationId xmlns:a16="http://schemas.microsoft.com/office/drawing/2014/main" id="{12163FAD-A39E-0BB7-D3AA-398A90B2984D}"/>
              </a:ext>
            </a:extLst>
          </p:cNvPr>
          <p:cNvSpPr>
            <a:spLocks noGrp="1"/>
          </p:cNvSpPr>
          <p:nvPr>
            <p:ph type="title"/>
          </p:nvPr>
        </p:nvSpPr>
        <p:spPr>
          <a:xfrm>
            <a:off x="4507578" y="0"/>
            <a:ext cx="7241510" cy="907200"/>
          </a:xfrm>
        </p:spPr>
        <p:txBody>
          <a:bodyPr>
            <a:noAutofit/>
          </a:bodyPr>
          <a:lstStyle/>
          <a:p>
            <a:r>
              <a:rPr lang="en-GB"/>
              <a:t>Click to edit Master title style</a:t>
            </a:r>
            <a:endParaRPr lang="en-US"/>
          </a:p>
        </p:txBody>
      </p:sp>
      <p:pic>
        <p:nvPicPr>
          <p:cNvPr id="5" name="Graphic 4">
            <a:extLst>
              <a:ext uri="{FF2B5EF4-FFF2-40B4-BE49-F238E27FC236}">
                <a16:creationId xmlns:a16="http://schemas.microsoft.com/office/drawing/2014/main" id="{A032FEC8-A7F3-35D3-6BB9-FB012928E4D8}"/>
              </a:ext>
            </a:extLst>
          </p:cNvPr>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07578" y="1053025"/>
            <a:ext cx="540000" cy="36000"/>
          </a:xfrm>
          <a:prstGeom prst="rect">
            <a:avLst/>
          </a:prstGeom>
        </p:spPr>
      </p:pic>
    </p:spTree>
    <p:extLst>
      <p:ext uri="{BB962C8B-B14F-4D97-AF65-F5344CB8AC3E}">
        <p14:creationId xmlns:p14="http://schemas.microsoft.com/office/powerpoint/2010/main" val="19920450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6_BLUE_Image, Title, Column_Jan_2025">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2AE62A51-46C2-0E2E-95F4-DC5CDC5584AE}"/>
              </a:ext>
            </a:extLst>
          </p:cNvPr>
          <p:cNvSpPr>
            <a:spLocks noGrp="1"/>
          </p:cNvSpPr>
          <p:nvPr>
            <p:ph type="pic" sz="quarter" idx="13"/>
          </p:nvPr>
        </p:nvSpPr>
        <p:spPr>
          <a:xfrm>
            <a:off x="0" y="0"/>
            <a:ext cx="5220000" cy="6750000"/>
          </a:xfrm>
        </p:spPr>
        <p:txBody>
          <a:bodyPr/>
          <a:lstStyle>
            <a:lvl1pPr>
              <a:defRPr>
                <a:solidFill>
                  <a:schemeClr val="bg1"/>
                </a:solidFill>
              </a:defRPr>
            </a:lvl1pPr>
          </a:lstStyle>
          <a:p>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5664200" y="1268412"/>
            <a:ext cx="6084887" cy="4287600"/>
          </a:xfrm>
        </p:spPr>
        <p:txBody>
          <a:bodyPr wrap="square" anchor="t">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1C3A6C96-FEB0-8910-4086-6A6541454535}"/>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9" name="Title 8">
            <a:extLst>
              <a:ext uri="{FF2B5EF4-FFF2-40B4-BE49-F238E27FC236}">
                <a16:creationId xmlns:a16="http://schemas.microsoft.com/office/drawing/2014/main" id="{12163FAD-A39E-0BB7-D3AA-398A90B2984D}"/>
              </a:ext>
            </a:extLst>
          </p:cNvPr>
          <p:cNvSpPr>
            <a:spLocks noGrp="1"/>
          </p:cNvSpPr>
          <p:nvPr>
            <p:ph type="title"/>
          </p:nvPr>
        </p:nvSpPr>
        <p:spPr>
          <a:xfrm>
            <a:off x="5664199" y="0"/>
            <a:ext cx="6084887" cy="907200"/>
          </a:xfrm>
        </p:spPr>
        <p:txBody>
          <a:bodyPr>
            <a:noAutofit/>
          </a:bodyPr>
          <a:lstStyle/>
          <a:p>
            <a:r>
              <a:rPr lang="en-GB"/>
              <a:t>Click to edit Master title style</a:t>
            </a:r>
            <a:endParaRPr lang="en-US"/>
          </a:p>
        </p:txBody>
      </p:sp>
      <p:pic>
        <p:nvPicPr>
          <p:cNvPr id="5" name="Graphic 4">
            <a:extLst>
              <a:ext uri="{FF2B5EF4-FFF2-40B4-BE49-F238E27FC236}">
                <a16:creationId xmlns:a16="http://schemas.microsoft.com/office/drawing/2014/main" id="{A032FEC8-A7F3-35D3-6BB9-FB012928E4D8}"/>
              </a:ext>
            </a:extLst>
          </p:cNvPr>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64200" y="1053025"/>
            <a:ext cx="540000" cy="36000"/>
          </a:xfrm>
          <a:prstGeom prst="rect">
            <a:avLst/>
          </a:prstGeom>
        </p:spPr>
      </p:pic>
    </p:spTree>
    <p:extLst>
      <p:ext uri="{BB962C8B-B14F-4D97-AF65-F5344CB8AC3E}">
        <p14:creationId xmlns:p14="http://schemas.microsoft.com/office/powerpoint/2010/main" val="136661969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BLUE_Image, Icons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A93CA6A6-E771-43BF-83F5-4496562A2BFF}"/>
              </a:ext>
            </a:extLst>
          </p:cNvPr>
          <p:cNvSpPr>
            <a:spLocks noGrp="1"/>
          </p:cNvSpPr>
          <p:nvPr>
            <p:ph type="pic" sz="quarter" idx="13"/>
          </p:nvPr>
        </p:nvSpPr>
        <p:spPr>
          <a:xfrm>
            <a:off x="1" y="0"/>
            <a:ext cx="4079874" cy="6750000"/>
          </a:xfrm>
        </p:spPr>
        <p:txBody>
          <a:bodyPr/>
          <a:lstStyle/>
          <a:p>
            <a:endParaRPr lang="en-DK"/>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Title 1">
            <a:extLst>
              <a:ext uri="{FF2B5EF4-FFF2-40B4-BE49-F238E27FC236}">
                <a16:creationId xmlns:a16="http://schemas.microsoft.com/office/drawing/2014/main" id="{0B819BDE-FF5C-AF65-8AD1-4C9D54ACCAE1}"/>
              </a:ext>
            </a:extLst>
          </p:cNvPr>
          <p:cNvSpPr>
            <a:spLocks noGrp="1"/>
          </p:cNvSpPr>
          <p:nvPr>
            <p:ph type="title"/>
          </p:nvPr>
        </p:nvSpPr>
        <p:spPr>
          <a:xfrm>
            <a:off x="4507578" y="0"/>
            <a:ext cx="7241510" cy="907200"/>
          </a:xfrm>
        </p:spPr>
        <p:txBody>
          <a:bodyPr anchor="b" anchorCtr="0">
            <a:noAutofit/>
          </a:bodyPr>
          <a:lstStyle>
            <a:lvl1pPr>
              <a:defRPr sz="2400" b="1">
                <a:solidFill>
                  <a:schemeClr val="bg1"/>
                </a:solidFill>
              </a:defRPr>
            </a:lvl1pPr>
          </a:lstStyle>
          <a:p>
            <a:r>
              <a:rPr lang="en-GB"/>
              <a:t>Click to edit Master title style</a:t>
            </a:r>
            <a:endParaRPr lang="en-DK"/>
          </a:p>
        </p:txBody>
      </p:sp>
      <p:sp>
        <p:nvSpPr>
          <p:cNvPr id="8" name="Content Placeholder 2">
            <a:extLst>
              <a:ext uri="{FF2B5EF4-FFF2-40B4-BE49-F238E27FC236}">
                <a16:creationId xmlns:a16="http://schemas.microsoft.com/office/drawing/2014/main" id="{60FB1439-27B2-302C-A62C-BC1B14ACAA74}"/>
              </a:ext>
            </a:extLst>
          </p:cNvPr>
          <p:cNvSpPr>
            <a:spLocks noGrp="1"/>
          </p:cNvSpPr>
          <p:nvPr>
            <p:ph idx="1"/>
          </p:nvPr>
        </p:nvSpPr>
        <p:spPr>
          <a:xfrm>
            <a:off x="5719320" y="2009238"/>
            <a:ext cx="6029768" cy="246221"/>
          </a:xfrm>
        </p:spPr>
        <p:txBody>
          <a:bodyPr wrap="square" anchor="ctr">
            <a:noAutofit/>
          </a:bodyPr>
          <a:lstStyle>
            <a:lvl1pPr marL="0" indent="0">
              <a:buNone/>
              <a:defRPr sz="1600">
                <a:solidFill>
                  <a:schemeClr val="bg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pic>
        <p:nvPicPr>
          <p:cNvPr id="9" name="Graphic 8">
            <a:extLst>
              <a:ext uri="{FF2B5EF4-FFF2-40B4-BE49-F238E27FC236}">
                <a16:creationId xmlns:a16="http://schemas.microsoft.com/office/drawing/2014/main" id="{49CCBB7A-27F4-AC06-4F5D-FA9835764843}"/>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07578" y="1053025"/>
            <a:ext cx="540000" cy="36000"/>
          </a:xfrm>
          <a:prstGeom prst="rect">
            <a:avLst/>
          </a:prstGeom>
        </p:spPr>
      </p:pic>
      <p:sp>
        <p:nvSpPr>
          <p:cNvPr id="11" name="Content Placeholder 2">
            <a:extLst>
              <a:ext uri="{FF2B5EF4-FFF2-40B4-BE49-F238E27FC236}">
                <a16:creationId xmlns:a16="http://schemas.microsoft.com/office/drawing/2014/main" id="{84FCF13D-6CCD-2E49-C926-D11CD515C67F}"/>
              </a:ext>
            </a:extLst>
          </p:cNvPr>
          <p:cNvSpPr>
            <a:spLocks noGrp="1"/>
          </p:cNvSpPr>
          <p:nvPr>
            <p:ph idx="19"/>
          </p:nvPr>
        </p:nvSpPr>
        <p:spPr>
          <a:xfrm>
            <a:off x="5719320" y="3151603"/>
            <a:ext cx="6029768" cy="246221"/>
          </a:xfrm>
        </p:spPr>
        <p:txBody>
          <a:bodyPr wrap="square" anchor="ctr">
            <a:noAutofit/>
          </a:bodyPr>
          <a:lstStyle>
            <a:lvl1pPr marL="0" indent="0">
              <a:buNone/>
              <a:defRPr sz="1600">
                <a:solidFill>
                  <a:schemeClr val="bg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
        <p:nvSpPr>
          <p:cNvPr id="12" name="Content Placeholder 2">
            <a:extLst>
              <a:ext uri="{FF2B5EF4-FFF2-40B4-BE49-F238E27FC236}">
                <a16:creationId xmlns:a16="http://schemas.microsoft.com/office/drawing/2014/main" id="{B98CB979-0AE5-98B4-21FF-7C7827B06A81}"/>
              </a:ext>
            </a:extLst>
          </p:cNvPr>
          <p:cNvSpPr>
            <a:spLocks noGrp="1"/>
          </p:cNvSpPr>
          <p:nvPr>
            <p:ph idx="20"/>
          </p:nvPr>
        </p:nvSpPr>
        <p:spPr>
          <a:xfrm>
            <a:off x="5719320" y="4293968"/>
            <a:ext cx="6029768" cy="246221"/>
          </a:xfrm>
        </p:spPr>
        <p:txBody>
          <a:bodyPr wrap="square" anchor="ctr">
            <a:noAutofit/>
          </a:bodyPr>
          <a:lstStyle>
            <a:lvl1pPr marL="0" indent="0">
              <a:buNone/>
              <a:defRPr sz="1600">
                <a:solidFill>
                  <a:schemeClr val="bg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
        <p:nvSpPr>
          <p:cNvPr id="13" name="Content Placeholder 2">
            <a:extLst>
              <a:ext uri="{FF2B5EF4-FFF2-40B4-BE49-F238E27FC236}">
                <a16:creationId xmlns:a16="http://schemas.microsoft.com/office/drawing/2014/main" id="{E8378C9C-13E6-E73B-DCFC-5C4D6EDAA3EA}"/>
              </a:ext>
            </a:extLst>
          </p:cNvPr>
          <p:cNvSpPr>
            <a:spLocks noGrp="1"/>
          </p:cNvSpPr>
          <p:nvPr>
            <p:ph idx="21"/>
          </p:nvPr>
        </p:nvSpPr>
        <p:spPr>
          <a:xfrm>
            <a:off x="5719320" y="5436334"/>
            <a:ext cx="6029768" cy="246221"/>
          </a:xfrm>
        </p:spPr>
        <p:txBody>
          <a:bodyPr wrap="square" anchor="ctr">
            <a:noAutofit/>
          </a:bodyPr>
          <a:lstStyle>
            <a:lvl1pPr marL="0" indent="0">
              <a:buNone/>
              <a:defRPr sz="1600">
                <a:solidFill>
                  <a:schemeClr val="bg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Tree>
    <p:extLst>
      <p:ext uri="{BB962C8B-B14F-4D97-AF65-F5344CB8AC3E}">
        <p14:creationId xmlns:p14="http://schemas.microsoft.com/office/powerpoint/2010/main" val="123525695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BLUE_Left Image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44B2D4ED-1254-EE31-47FD-A86575BAD8C5}"/>
              </a:ext>
            </a:extLst>
          </p:cNvPr>
          <p:cNvSpPr>
            <a:spLocks noGrp="1"/>
          </p:cNvSpPr>
          <p:nvPr>
            <p:ph type="pic" sz="quarter" idx="13"/>
          </p:nvPr>
        </p:nvSpPr>
        <p:spPr>
          <a:xfrm>
            <a:off x="1" y="0"/>
            <a:ext cx="4079874" cy="6750000"/>
          </a:xfrm>
        </p:spPr>
        <p:txBody>
          <a:bodyPr/>
          <a:lstStyle>
            <a:lvl1pPr algn="ctr">
              <a:defRPr>
                <a:solidFill>
                  <a:schemeClr val="bg1"/>
                </a:solidFill>
              </a:defRPr>
            </a:lvl1pPr>
          </a:lstStyle>
          <a:p>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4507579" y="1285200"/>
            <a:ext cx="7240970" cy="4287600"/>
          </a:xfrm>
        </p:spPr>
        <p:txBody>
          <a:bodyPr wrap="square" anchor="ct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2" name="Title 1">
            <a:extLst>
              <a:ext uri="{FF2B5EF4-FFF2-40B4-BE49-F238E27FC236}">
                <a16:creationId xmlns:a16="http://schemas.microsoft.com/office/drawing/2014/main" id="{7EDD364F-3FE9-18C1-56D4-52A88C82DF6C}"/>
              </a:ext>
            </a:extLst>
          </p:cNvPr>
          <p:cNvSpPr>
            <a:spLocks noGrp="1"/>
          </p:cNvSpPr>
          <p:nvPr>
            <p:ph type="title"/>
          </p:nvPr>
        </p:nvSpPr>
        <p:spPr>
          <a:xfrm>
            <a:off x="442913" y="1285200"/>
            <a:ext cx="3205162" cy="4287600"/>
          </a:xfrm>
        </p:spPr>
        <p:txBody>
          <a:bodyPr lIns="0" tIns="0" rIns="0" bIns="0" anchor="ctr" anchorCtr="0">
            <a:noAutofit/>
          </a:bodyPr>
          <a:lstStyle>
            <a:lvl1pPr algn="l">
              <a:defRPr sz="2800" b="1">
                <a:solidFill>
                  <a:schemeClr val="bg2"/>
                </a:solidFill>
              </a:defRPr>
            </a:lvl1pPr>
          </a:lstStyle>
          <a:p>
            <a:r>
              <a:rPr lang="en-GB"/>
              <a:t>Click to edit Master title style</a:t>
            </a:r>
            <a:endParaRPr lang="en-DK"/>
          </a:p>
        </p:txBody>
      </p:sp>
      <p:pic>
        <p:nvPicPr>
          <p:cNvPr id="4" name="Picture 3">
            <a:extLst>
              <a:ext uri="{FF2B5EF4-FFF2-40B4-BE49-F238E27FC236}">
                <a16:creationId xmlns:a16="http://schemas.microsoft.com/office/drawing/2014/main" id="{1C3A6C96-FEB0-8910-4086-6A6541454535}"/>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Tree>
    <p:extLst>
      <p:ext uri="{BB962C8B-B14F-4D97-AF65-F5344CB8AC3E}">
        <p14:creationId xmlns:p14="http://schemas.microsoft.com/office/powerpoint/2010/main" val="84204844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BLUE_Quote_Jan_2025">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EC2ED8-295B-3A5C-24C6-BE6C838B05F4}"/>
              </a:ext>
            </a:extLst>
          </p:cNvPr>
          <p:cNvSpPr>
            <a:spLocks noGrp="1" noRot="1" noMove="1" noResize="1" noEditPoints="1" noAdjustHandles="1" noChangeArrowheads="1" noChangeShapeType="1"/>
          </p:cNvSpPr>
          <p:nvPr>
            <p:ph idx="1"/>
          </p:nvPr>
        </p:nvSpPr>
        <p:spPr>
          <a:xfrm>
            <a:off x="2027238" y="1268413"/>
            <a:ext cx="8137525" cy="3509883"/>
          </a:xfrm>
        </p:spPr>
        <p:txBody>
          <a:bodyPr>
            <a:noAutofit/>
          </a:bodyPr>
          <a:lstStyle>
            <a:lvl1pPr marL="0" indent="0">
              <a:buNone/>
              <a:defRPr sz="3800" b="1">
                <a:solidFill>
                  <a:schemeClr val="bg2"/>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11" name="Content Placeholder 2">
            <a:extLst>
              <a:ext uri="{FF2B5EF4-FFF2-40B4-BE49-F238E27FC236}">
                <a16:creationId xmlns:a16="http://schemas.microsoft.com/office/drawing/2014/main" id="{21561EBE-5C5B-5478-448B-FC14238C7596}"/>
              </a:ext>
            </a:extLst>
          </p:cNvPr>
          <p:cNvSpPr>
            <a:spLocks noGrp="1" noRot="1" noMove="1" noResize="1" noEditPoints="1" noAdjustHandles="1" noChangeArrowheads="1" noChangeShapeType="1"/>
          </p:cNvSpPr>
          <p:nvPr>
            <p:ph idx="10"/>
          </p:nvPr>
        </p:nvSpPr>
        <p:spPr>
          <a:xfrm>
            <a:off x="2027238" y="4877634"/>
            <a:ext cx="8137525" cy="1440000"/>
          </a:xfrm>
        </p:spPr>
        <p:txBody>
          <a:bodyPr>
            <a:noAutofit/>
          </a:bodyPr>
          <a:lstStyle>
            <a:lvl1pPr marL="0" indent="0">
              <a:spcAft>
                <a:spcPts val="600"/>
              </a:spcAft>
              <a:buNone/>
              <a:defRPr sz="1600" b="1">
                <a:solidFill>
                  <a:schemeClr val="bg2"/>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A0D5DB04-585A-D45D-1E68-C6ACDD1EFCD0}"/>
              </a:ext>
            </a:extLst>
          </p:cNvPr>
          <p:cNvSpPr txBox="1">
            <a:spLocks noGrp="1" noRot="1" noMove="1" noResize="1" noEditPoints="1" noAdjustHandles="1" noChangeArrowheads="1" noChangeShapeType="1"/>
          </p:cNvSpPr>
          <p:nvPr userDrawn="1"/>
        </p:nvSpPr>
        <p:spPr>
          <a:xfrm>
            <a:off x="728279" y="766733"/>
            <a:ext cx="1991075" cy="2662267"/>
          </a:xfrm>
          <a:prstGeom prst="rect">
            <a:avLst/>
          </a:prstGeom>
          <a:noFill/>
        </p:spPr>
        <p:txBody>
          <a:bodyPr wrap="square" rtlCol="0">
            <a:spAutoFit/>
          </a:bodyPr>
          <a:lstStyle/>
          <a:p>
            <a:r>
              <a:rPr lang="en-DK" sz="16700" b="1">
                <a:solidFill>
                  <a:schemeClr val="bg2"/>
                </a:solidFill>
              </a:rPr>
              <a:t>“</a:t>
            </a:r>
          </a:p>
        </p:txBody>
      </p:sp>
      <p:pic>
        <p:nvPicPr>
          <p:cNvPr id="5" name="Picture 4">
            <a:extLst>
              <a:ext uri="{FF2B5EF4-FFF2-40B4-BE49-F238E27FC236}">
                <a16:creationId xmlns:a16="http://schemas.microsoft.com/office/drawing/2014/main" id="{E02932C2-178A-BD50-AA57-67D5CA004D2A}"/>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2" name="Footer Placeholder 1">
            <a:extLst>
              <a:ext uri="{FF2B5EF4-FFF2-40B4-BE49-F238E27FC236}">
                <a16:creationId xmlns:a16="http://schemas.microsoft.com/office/drawing/2014/main" id="{76693116-E4BA-604D-4A3B-E2D6516C7089}"/>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A7BDF4B8-5FC2-7F4A-D2D4-3DDE9D96C67A}"/>
              </a:ext>
            </a:extLst>
          </p:cNvPr>
          <p:cNvSpPr>
            <a:spLocks noGrp="1"/>
          </p:cNvSpPr>
          <p:nvPr>
            <p:ph type="sldNum" sz="quarter" idx="12"/>
          </p:nvPr>
        </p:nvSpPr>
        <p:spPr/>
        <p:txBody>
          <a:bodyPr/>
          <a:lstStyle/>
          <a:p>
            <a:fld id="{64D2DCB6-719E-0F43-A160-E508323EF71D}" type="slidenum">
              <a:rPr lang="en-DK" smtClean="0"/>
              <a:pPr/>
              <a:t>‹#›</a:t>
            </a:fld>
            <a:endParaRPr lang="en-DK"/>
          </a:p>
        </p:txBody>
      </p:sp>
    </p:spTree>
    <p:extLst>
      <p:ext uri="{BB962C8B-B14F-4D97-AF65-F5344CB8AC3E}">
        <p14:creationId xmlns:p14="http://schemas.microsoft.com/office/powerpoint/2010/main" val="316733798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BLUE_Quote 2_Jan_2025">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EC2ED8-295B-3A5C-24C6-BE6C838B05F4}"/>
              </a:ext>
            </a:extLst>
          </p:cNvPr>
          <p:cNvSpPr>
            <a:spLocks noGrp="1" noRot="1" noMove="1" noResize="1" noEditPoints="1" noAdjustHandles="1" noChangeArrowheads="1" noChangeShapeType="1"/>
          </p:cNvSpPr>
          <p:nvPr>
            <p:ph idx="1"/>
          </p:nvPr>
        </p:nvSpPr>
        <p:spPr>
          <a:xfrm>
            <a:off x="2027238" y="1268413"/>
            <a:ext cx="8137525" cy="3509883"/>
          </a:xfrm>
        </p:spPr>
        <p:txBody>
          <a:bodyPr>
            <a:noAutofit/>
          </a:bodyPr>
          <a:lstStyle>
            <a:lvl1pPr marL="0" indent="0">
              <a:buNone/>
              <a:defRPr lang="en-GB" sz="3800" b="1" kern="1200" dirty="0">
                <a:solidFill>
                  <a:schemeClr val="accent2"/>
                </a:solidFill>
                <a:latin typeface="+mn-lt"/>
                <a:ea typeface="+mn-ea"/>
                <a:cs typeface="+mn-cs"/>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11" name="Content Placeholder 2">
            <a:extLst>
              <a:ext uri="{FF2B5EF4-FFF2-40B4-BE49-F238E27FC236}">
                <a16:creationId xmlns:a16="http://schemas.microsoft.com/office/drawing/2014/main" id="{21561EBE-5C5B-5478-448B-FC14238C7596}"/>
              </a:ext>
            </a:extLst>
          </p:cNvPr>
          <p:cNvSpPr>
            <a:spLocks noGrp="1" noRot="1" noMove="1" noResize="1" noEditPoints="1" noAdjustHandles="1" noChangeArrowheads="1" noChangeShapeType="1"/>
          </p:cNvSpPr>
          <p:nvPr>
            <p:ph idx="10"/>
          </p:nvPr>
        </p:nvSpPr>
        <p:spPr>
          <a:xfrm>
            <a:off x="2027238" y="4877634"/>
            <a:ext cx="8137525" cy="1440000"/>
          </a:xfrm>
        </p:spPr>
        <p:txBody>
          <a:bodyPr>
            <a:noAutofit/>
          </a:bodyPr>
          <a:lstStyle>
            <a:lvl1pPr marL="0" indent="0">
              <a:spcAft>
                <a:spcPts val="600"/>
              </a:spcAft>
              <a:buNone/>
              <a:defRPr sz="1600" b="1">
                <a:solidFill>
                  <a:schemeClr val="bg2"/>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A0D5DB04-585A-D45D-1E68-C6ACDD1EFCD0}"/>
              </a:ext>
            </a:extLst>
          </p:cNvPr>
          <p:cNvSpPr txBox="1">
            <a:spLocks noGrp="1" noRot="1" noMove="1" noResize="1" noEditPoints="1" noAdjustHandles="1" noChangeArrowheads="1" noChangeShapeType="1"/>
          </p:cNvSpPr>
          <p:nvPr userDrawn="1"/>
        </p:nvSpPr>
        <p:spPr>
          <a:xfrm>
            <a:off x="728279" y="766733"/>
            <a:ext cx="1991075" cy="2662267"/>
          </a:xfrm>
          <a:prstGeom prst="rect">
            <a:avLst/>
          </a:prstGeom>
          <a:noFill/>
        </p:spPr>
        <p:txBody>
          <a:bodyPr wrap="square" rtlCol="0">
            <a:spAutoFit/>
          </a:bodyPr>
          <a:lstStyle/>
          <a:p>
            <a:r>
              <a:rPr lang="en-DK" sz="16700" b="1">
                <a:solidFill>
                  <a:schemeClr val="accent2"/>
                </a:solidFill>
              </a:rPr>
              <a:t>“</a:t>
            </a:r>
          </a:p>
        </p:txBody>
      </p:sp>
      <p:pic>
        <p:nvPicPr>
          <p:cNvPr id="5" name="Picture 4">
            <a:extLst>
              <a:ext uri="{FF2B5EF4-FFF2-40B4-BE49-F238E27FC236}">
                <a16:creationId xmlns:a16="http://schemas.microsoft.com/office/drawing/2014/main" id="{E02932C2-178A-BD50-AA57-67D5CA004D2A}"/>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2" name="Footer Placeholder 1">
            <a:extLst>
              <a:ext uri="{FF2B5EF4-FFF2-40B4-BE49-F238E27FC236}">
                <a16:creationId xmlns:a16="http://schemas.microsoft.com/office/drawing/2014/main" id="{85C0B7AB-654F-431D-E336-574941165E3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B7B9E29-8BAE-F0A3-912E-5F027011882D}"/>
              </a:ext>
            </a:extLst>
          </p:cNvPr>
          <p:cNvSpPr>
            <a:spLocks noGrp="1"/>
          </p:cNvSpPr>
          <p:nvPr>
            <p:ph type="sldNum" sz="quarter" idx="12"/>
          </p:nvPr>
        </p:nvSpPr>
        <p:spPr/>
        <p:txBody>
          <a:bodyPr/>
          <a:lstStyle/>
          <a:p>
            <a:fld id="{64D2DCB6-719E-0F43-A160-E508323EF71D}" type="slidenum">
              <a:rPr lang="en-DK" smtClean="0"/>
              <a:pPr/>
              <a:t>‹#›</a:t>
            </a:fld>
            <a:endParaRPr lang="en-DK"/>
          </a:p>
        </p:txBody>
      </p:sp>
    </p:spTree>
    <p:extLst>
      <p:ext uri="{BB962C8B-B14F-4D97-AF65-F5344CB8AC3E}">
        <p14:creationId xmlns:p14="http://schemas.microsoft.com/office/powerpoint/2010/main" val="2520970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7538" y="1130585"/>
            <a:ext cx="10562167" cy="4343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7D075CA9-1B88-0DD7-8697-527572C38D0A}"/>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020730654"/>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BLUE_List_Jan_2025">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975BE2D-A6A1-AE41-F95A-CEDFCAF4596E}"/>
              </a:ext>
            </a:extLst>
          </p:cNvPr>
          <p:cNvSpPr>
            <a:spLocks noGrp="1" noRot="1" noMove="1" noResize="1" noEditPoints="1" noAdjustHandles="1" noChangeArrowheads="1" noChangeShapeType="1"/>
          </p:cNvSpPr>
          <p:nvPr>
            <p:ph type="body" sz="quarter" idx="10"/>
          </p:nvPr>
        </p:nvSpPr>
        <p:spPr>
          <a:xfrm>
            <a:off x="2027238" y="703873"/>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bg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21" name="Text Placeholder 19">
            <a:extLst>
              <a:ext uri="{FF2B5EF4-FFF2-40B4-BE49-F238E27FC236}">
                <a16:creationId xmlns:a16="http://schemas.microsoft.com/office/drawing/2014/main" id="{DA1095CC-F251-A129-D65D-D123E59865E6}"/>
              </a:ext>
            </a:extLst>
          </p:cNvPr>
          <p:cNvSpPr>
            <a:spLocks noGrp="1" noRot="1" noMove="1" noResize="1" noEditPoints="1" noAdjustHandles="1" noChangeArrowheads="1" noChangeShapeType="1"/>
          </p:cNvSpPr>
          <p:nvPr>
            <p:ph type="body" sz="quarter" idx="11"/>
          </p:nvPr>
        </p:nvSpPr>
        <p:spPr>
          <a:xfrm>
            <a:off x="2027238" y="1771840"/>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bg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22" name="Text Placeholder 19">
            <a:extLst>
              <a:ext uri="{FF2B5EF4-FFF2-40B4-BE49-F238E27FC236}">
                <a16:creationId xmlns:a16="http://schemas.microsoft.com/office/drawing/2014/main" id="{08245438-AC2F-019D-77A9-F74CA60D4655}"/>
              </a:ext>
            </a:extLst>
          </p:cNvPr>
          <p:cNvSpPr>
            <a:spLocks noGrp="1" noRot="1" noMove="1" noResize="1" noEditPoints="1" noAdjustHandles="1" noChangeArrowheads="1" noChangeShapeType="1"/>
          </p:cNvSpPr>
          <p:nvPr>
            <p:ph type="body" sz="quarter" idx="12"/>
          </p:nvPr>
        </p:nvSpPr>
        <p:spPr>
          <a:xfrm>
            <a:off x="2027238" y="2839807"/>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bg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23" name="Text Placeholder 19">
            <a:extLst>
              <a:ext uri="{FF2B5EF4-FFF2-40B4-BE49-F238E27FC236}">
                <a16:creationId xmlns:a16="http://schemas.microsoft.com/office/drawing/2014/main" id="{AA7D232E-ADE2-233E-3F84-7358DB333C4E}"/>
              </a:ext>
            </a:extLst>
          </p:cNvPr>
          <p:cNvSpPr>
            <a:spLocks noGrp="1" noRot="1" noMove="1" noResize="1" noEditPoints="1" noAdjustHandles="1" noChangeArrowheads="1" noChangeShapeType="1"/>
          </p:cNvSpPr>
          <p:nvPr>
            <p:ph type="body" sz="quarter" idx="13"/>
          </p:nvPr>
        </p:nvSpPr>
        <p:spPr>
          <a:xfrm>
            <a:off x="2027238" y="3907774"/>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bg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24" name="Text Placeholder 19">
            <a:extLst>
              <a:ext uri="{FF2B5EF4-FFF2-40B4-BE49-F238E27FC236}">
                <a16:creationId xmlns:a16="http://schemas.microsoft.com/office/drawing/2014/main" id="{B11296D6-324D-5A95-E8A4-A64D4FBA029F}"/>
              </a:ext>
            </a:extLst>
          </p:cNvPr>
          <p:cNvSpPr>
            <a:spLocks noGrp="1" noRot="1" noMove="1" noResize="1" noEditPoints="1" noAdjustHandles="1" noChangeArrowheads="1" noChangeShapeType="1"/>
          </p:cNvSpPr>
          <p:nvPr>
            <p:ph type="body" sz="quarter" idx="14"/>
          </p:nvPr>
        </p:nvSpPr>
        <p:spPr>
          <a:xfrm>
            <a:off x="2027238" y="4975741"/>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bg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pic>
        <p:nvPicPr>
          <p:cNvPr id="3" name="Picture 2">
            <a:extLst>
              <a:ext uri="{FF2B5EF4-FFF2-40B4-BE49-F238E27FC236}">
                <a16:creationId xmlns:a16="http://schemas.microsoft.com/office/drawing/2014/main" id="{A620B14D-4781-FE66-22AD-85C48362354D}"/>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2" name="Footer Placeholder 1">
            <a:extLst>
              <a:ext uri="{FF2B5EF4-FFF2-40B4-BE49-F238E27FC236}">
                <a16:creationId xmlns:a16="http://schemas.microsoft.com/office/drawing/2014/main" id="{D3786E5D-F165-9AF0-B702-2C649305FACE}"/>
              </a:ext>
            </a:extLst>
          </p:cNvPr>
          <p:cNvSpPr>
            <a:spLocks noGrp="1"/>
          </p:cNvSpPr>
          <p:nvPr>
            <p:ph type="ftr" sz="quarter" idx="15"/>
          </p:nvPr>
        </p:nvSpPr>
        <p:spPr/>
        <p:txBody>
          <a:bodyPr/>
          <a:lstStyle/>
          <a:p>
            <a:endParaRPr lang="en-IE"/>
          </a:p>
        </p:txBody>
      </p:sp>
      <p:sp>
        <p:nvSpPr>
          <p:cNvPr id="4" name="Slide Number Placeholder 3">
            <a:extLst>
              <a:ext uri="{FF2B5EF4-FFF2-40B4-BE49-F238E27FC236}">
                <a16:creationId xmlns:a16="http://schemas.microsoft.com/office/drawing/2014/main" id="{250B6D36-05D6-D84D-7BAD-4409CCDBAD90}"/>
              </a:ext>
            </a:extLst>
          </p:cNvPr>
          <p:cNvSpPr>
            <a:spLocks noGrp="1"/>
          </p:cNvSpPr>
          <p:nvPr>
            <p:ph type="sldNum" sz="quarter" idx="16"/>
          </p:nvPr>
        </p:nvSpPr>
        <p:spPr/>
        <p:txBody>
          <a:bodyPr/>
          <a:lstStyle/>
          <a:p>
            <a:fld id="{64D2DCB6-719E-0F43-A160-E508323EF71D}" type="slidenum">
              <a:rPr lang="en-DK" smtClean="0"/>
              <a:pPr/>
              <a:t>‹#›</a:t>
            </a:fld>
            <a:endParaRPr lang="en-DK"/>
          </a:p>
        </p:txBody>
      </p:sp>
    </p:spTree>
    <p:extLst>
      <p:ext uri="{BB962C8B-B14F-4D97-AF65-F5344CB8AC3E}">
        <p14:creationId xmlns:p14="http://schemas.microsoft.com/office/powerpoint/2010/main" val="3891309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_BLUE_Three Columns_Jan_2025">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BDB2469-D08B-A1E6-2C0A-496F914B4473}"/>
              </a:ext>
            </a:extLst>
          </p:cNvPr>
          <p:cNvSpPr/>
          <p:nvPr userDrawn="1"/>
        </p:nvSpPr>
        <p:spPr>
          <a:xfrm>
            <a:off x="0" y="0"/>
            <a:ext cx="4060800" cy="64166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Rectangle 11">
            <a:extLst>
              <a:ext uri="{FF2B5EF4-FFF2-40B4-BE49-F238E27FC236}">
                <a16:creationId xmlns:a16="http://schemas.microsoft.com/office/drawing/2014/main" id="{961C2201-C074-B4F4-4E63-6B6BB22809EA}"/>
              </a:ext>
            </a:extLst>
          </p:cNvPr>
          <p:cNvSpPr/>
          <p:nvPr userDrawn="1"/>
        </p:nvSpPr>
        <p:spPr>
          <a:xfrm>
            <a:off x="8112125" y="0"/>
            <a:ext cx="4079875" cy="6416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Rectangle 10">
            <a:extLst>
              <a:ext uri="{FF2B5EF4-FFF2-40B4-BE49-F238E27FC236}">
                <a16:creationId xmlns:a16="http://schemas.microsoft.com/office/drawing/2014/main" id="{F1B7F656-53B9-4BE4-3C83-64A23311AFCA}"/>
              </a:ext>
            </a:extLst>
          </p:cNvPr>
          <p:cNvSpPr/>
          <p:nvPr userDrawn="1"/>
        </p:nvSpPr>
        <p:spPr>
          <a:xfrm>
            <a:off x="4065600" y="0"/>
            <a:ext cx="4046525" cy="641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noRot="1" noMove="1" noResize="1" noEditPoints="1" noAdjustHandles="1" noChangeArrowheads="1" noChangeShapeType="1"/>
          </p:cNvSpPr>
          <p:nvPr>
            <p:ph idx="1"/>
          </p:nvPr>
        </p:nvSpPr>
        <p:spPr>
          <a:xfrm>
            <a:off x="446400" y="2293795"/>
            <a:ext cx="3168000" cy="3545419"/>
          </a:xfrm>
        </p:spPr>
        <p:txBody>
          <a:bodyPr>
            <a:noAutofit/>
          </a:bodyPr>
          <a:lstStyle>
            <a:lvl1pPr>
              <a:defRPr sz="1600">
                <a:solidFill>
                  <a:schemeClr val="bg2"/>
                </a:solidFill>
              </a:defRPr>
            </a:lvl1pPr>
            <a:lvl2pPr>
              <a:defRPr sz="1400">
                <a:solidFill>
                  <a:schemeClr val="bg2"/>
                </a:solidFill>
              </a:defRPr>
            </a:lvl2pPr>
            <a:lvl3pPr>
              <a:defRPr sz="1200">
                <a:solidFill>
                  <a:schemeClr val="bg2"/>
                </a:solidFill>
              </a:defRPr>
            </a:lvl3pPr>
            <a:lvl4pPr>
              <a:defRPr sz="1100">
                <a:solidFill>
                  <a:schemeClr val="bg2"/>
                </a:solidFill>
              </a:defRPr>
            </a:lvl4pPr>
            <a:lvl5pPr>
              <a:defRPr sz="11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9" name="Content Placeholder 2">
            <a:extLst>
              <a:ext uri="{FF2B5EF4-FFF2-40B4-BE49-F238E27FC236}">
                <a16:creationId xmlns:a16="http://schemas.microsoft.com/office/drawing/2014/main" id="{B53ADEF9-350F-34A2-A8A5-42D7BB2EF095}"/>
              </a:ext>
            </a:extLst>
          </p:cNvPr>
          <p:cNvSpPr>
            <a:spLocks noGrp="1" noRot="1" noMove="1" noResize="1" noEditPoints="1" noAdjustHandles="1" noChangeArrowheads="1" noChangeShapeType="1"/>
          </p:cNvSpPr>
          <p:nvPr>
            <p:ph idx="10"/>
          </p:nvPr>
        </p:nvSpPr>
        <p:spPr>
          <a:xfrm>
            <a:off x="4511675" y="2293795"/>
            <a:ext cx="3168650" cy="3545419"/>
          </a:xfrm>
        </p:spPr>
        <p:txBody>
          <a:bodyPr>
            <a:noAutofit/>
          </a:bodyPr>
          <a:lstStyle>
            <a:lvl1pPr>
              <a:defRPr sz="1600">
                <a:solidFill>
                  <a:schemeClr val="bg2"/>
                </a:solidFill>
              </a:defRPr>
            </a:lvl1pPr>
            <a:lvl2pPr>
              <a:defRPr sz="1400">
                <a:solidFill>
                  <a:schemeClr val="bg2"/>
                </a:solidFill>
              </a:defRPr>
            </a:lvl2pPr>
            <a:lvl3pPr>
              <a:defRPr sz="1200">
                <a:solidFill>
                  <a:schemeClr val="bg2"/>
                </a:solidFill>
              </a:defRPr>
            </a:lvl3pPr>
            <a:lvl4pPr>
              <a:defRPr sz="1100">
                <a:solidFill>
                  <a:schemeClr val="bg2"/>
                </a:solidFill>
              </a:defRPr>
            </a:lvl4pPr>
            <a:lvl5pPr>
              <a:defRPr sz="11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10" name="Content Placeholder 2">
            <a:extLst>
              <a:ext uri="{FF2B5EF4-FFF2-40B4-BE49-F238E27FC236}">
                <a16:creationId xmlns:a16="http://schemas.microsoft.com/office/drawing/2014/main" id="{DDB7801E-469E-0D42-F825-318C43BB30DD}"/>
              </a:ext>
            </a:extLst>
          </p:cNvPr>
          <p:cNvSpPr>
            <a:spLocks noGrp="1" noRot="1" noMove="1" noResize="1" noEditPoints="1" noAdjustHandles="1" noChangeArrowheads="1" noChangeShapeType="1"/>
          </p:cNvSpPr>
          <p:nvPr>
            <p:ph idx="11"/>
          </p:nvPr>
        </p:nvSpPr>
        <p:spPr>
          <a:xfrm>
            <a:off x="8577600" y="2293795"/>
            <a:ext cx="3168000" cy="3545419"/>
          </a:xfrm>
        </p:spPr>
        <p:txBody>
          <a:bodyPr>
            <a:noAutofit/>
          </a:bodyPr>
          <a:lstStyle>
            <a:lvl1pPr>
              <a:defRPr sz="1600">
                <a:solidFill>
                  <a:schemeClr val="bg2"/>
                </a:solidFill>
              </a:defRPr>
            </a:lvl1pPr>
            <a:lvl2pPr>
              <a:defRPr sz="1400">
                <a:solidFill>
                  <a:schemeClr val="bg2"/>
                </a:solidFill>
              </a:defRPr>
            </a:lvl2pPr>
            <a:lvl3pPr>
              <a:defRPr sz="1200">
                <a:solidFill>
                  <a:schemeClr val="bg2"/>
                </a:solidFill>
              </a:defRPr>
            </a:lvl3pPr>
            <a:lvl4pPr>
              <a:defRPr sz="1100">
                <a:solidFill>
                  <a:schemeClr val="bg2"/>
                </a:solidFill>
              </a:defRPr>
            </a:lvl4pPr>
            <a:lvl5pPr>
              <a:defRPr sz="11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7" name="Picture 6">
            <a:extLst>
              <a:ext uri="{FF2B5EF4-FFF2-40B4-BE49-F238E27FC236}">
                <a16:creationId xmlns:a16="http://schemas.microsoft.com/office/drawing/2014/main" id="{D0A914EE-8FF6-3608-5AC2-5908D496FFE9}"/>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6" name="Slide Number Placeholder 5">
            <a:extLst>
              <a:ext uri="{FF2B5EF4-FFF2-40B4-BE49-F238E27FC236}">
                <a16:creationId xmlns:a16="http://schemas.microsoft.com/office/drawing/2014/main" id="{09061233-4BFE-92DE-9406-69FBC8DADA67}"/>
              </a:ext>
            </a:extLst>
          </p:cNvPr>
          <p:cNvSpPr>
            <a:spLocks noGrp="1"/>
          </p:cNvSpPr>
          <p:nvPr>
            <p:ph type="sldNum" sz="quarter" idx="13"/>
          </p:nvPr>
        </p:nvSpPr>
        <p:spPr/>
        <p:txBody>
          <a:bodyPr/>
          <a:lstStyle/>
          <a:p>
            <a:fld id="{64D2DCB6-719E-0F43-A160-E508323EF71D}" type="slidenum">
              <a:rPr lang="en-DK" smtClean="0"/>
              <a:pPr/>
              <a:t>‹#›</a:t>
            </a:fld>
            <a:endParaRPr lang="en-DK"/>
          </a:p>
        </p:txBody>
      </p:sp>
      <p:sp>
        <p:nvSpPr>
          <p:cNvPr id="2" name="Footer Placeholder 1">
            <a:extLst>
              <a:ext uri="{FF2B5EF4-FFF2-40B4-BE49-F238E27FC236}">
                <a16:creationId xmlns:a16="http://schemas.microsoft.com/office/drawing/2014/main" id="{185B87A5-5491-AD86-97ED-A1FE6E4E9173}"/>
              </a:ext>
            </a:extLst>
          </p:cNvPr>
          <p:cNvSpPr>
            <a:spLocks noGrp="1"/>
          </p:cNvSpPr>
          <p:nvPr>
            <p:ph type="ftr" sz="quarter" idx="14"/>
          </p:nvPr>
        </p:nvSpPr>
        <p:spPr/>
        <p:txBody>
          <a:bodyPr/>
          <a:lstStyle/>
          <a:p>
            <a:endParaRPr lang="en-IE"/>
          </a:p>
        </p:txBody>
      </p:sp>
    </p:spTree>
    <p:extLst>
      <p:ext uri="{BB962C8B-B14F-4D97-AF65-F5344CB8AC3E}">
        <p14:creationId xmlns:p14="http://schemas.microsoft.com/office/powerpoint/2010/main" val="226327323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BLUE_Six Image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3" y="18295"/>
            <a:ext cx="11307600" cy="882000"/>
          </a:xfrm>
        </p:spPr>
        <p:txBody>
          <a:bodyPr anchor="b" anchorCtr="0">
            <a:noAutofit/>
          </a:bodyPr>
          <a:lstStyle>
            <a:lvl1pPr>
              <a:defRPr sz="2400" b="1">
                <a:solidFill>
                  <a:schemeClr val="bg1"/>
                </a:solidFill>
              </a:defRPr>
            </a:lvl1pPr>
          </a:lstStyle>
          <a:p>
            <a:r>
              <a:rPr lang="en-GB"/>
              <a:t>Click to edit Master title style</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9" name="Picture Placeholder 8">
            <a:extLst>
              <a:ext uri="{FF2B5EF4-FFF2-40B4-BE49-F238E27FC236}">
                <a16:creationId xmlns:a16="http://schemas.microsoft.com/office/drawing/2014/main" id="{015D40AE-DC36-ED0E-2121-8767D8062FFB}"/>
              </a:ext>
            </a:extLst>
          </p:cNvPr>
          <p:cNvSpPr>
            <a:spLocks noGrp="1" noRot="1" noMove="1" noResize="1" noEditPoints="1" noAdjustHandles="1" noChangeArrowheads="1" noChangeShapeType="1"/>
          </p:cNvSpPr>
          <p:nvPr>
            <p:ph type="pic" sz="quarter" idx="11"/>
          </p:nvPr>
        </p:nvSpPr>
        <p:spPr>
          <a:xfrm>
            <a:off x="442913" y="1268413"/>
            <a:ext cx="3528000" cy="1620000"/>
          </a:xfrm>
        </p:spPr>
        <p:txBody>
          <a:bodyPr>
            <a:noAutofit/>
          </a:bodyPr>
          <a:lstStyle/>
          <a:p>
            <a:endParaRPr lang="en-DK"/>
          </a:p>
        </p:txBody>
      </p:sp>
      <p:sp>
        <p:nvSpPr>
          <p:cNvPr id="10" name="Picture Placeholder 8">
            <a:extLst>
              <a:ext uri="{FF2B5EF4-FFF2-40B4-BE49-F238E27FC236}">
                <a16:creationId xmlns:a16="http://schemas.microsoft.com/office/drawing/2014/main" id="{AB27D519-34F0-B9F8-C4A2-BF1B79EE1849}"/>
              </a:ext>
            </a:extLst>
          </p:cNvPr>
          <p:cNvSpPr>
            <a:spLocks noGrp="1" noRot="1" noMove="1" noResize="1" noEditPoints="1" noAdjustHandles="1" noChangeArrowheads="1" noChangeShapeType="1"/>
          </p:cNvSpPr>
          <p:nvPr>
            <p:ph type="pic" sz="quarter" idx="12"/>
          </p:nvPr>
        </p:nvSpPr>
        <p:spPr>
          <a:xfrm>
            <a:off x="4332000" y="1268413"/>
            <a:ext cx="3528000" cy="1620000"/>
          </a:xfrm>
        </p:spPr>
        <p:txBody>
          <a:bodyPr>
            <a:noAutofit/>
          </a:bodyPr>
          <a:lstStyle/>
          <a:p>
            <a:endParaRPr lang="en-DK"/>
          </a:p>
        </p:txBody>
      </p:sp>
      <p:sp>
        <p:nvSpPr>
          <p:cNvPr id="13" name="Picture Placeholder 8">
            <a:extLst>
              <a:ext uri="{FF2B5EF4-FFF2-40B4-BE49-F238E27FC236}">
                <a16:creationId xmlns:a16="http://schemas.microsoft.com/office/drawing/2014/main" id="{2B79F1DC-325C-B57B-7607-17205EF20504}"/>
              </a:ext>
            </a:extLst>
          </p:cNvPr>
          <p:cNvSpPr>
            <a:spLocks noGrp="1" noRot="1" noMove="1" noResize="1" noEditPoints="1" noAdjustHandles="1" noChangeArrowheads="1" noChangeShapeType="1"/>
          </p:cNvSpPr>
          <p:nvPr>
            <p:ph type="pic" sz="quarter" idx="13"/>
          </p:nvPr>
        </p:nvSpPr>
        <p:spPr>
          <a:xfrm>
            <a:off x="8221089" y="1268413"/>
            <a:ext cx="3528000" cy="1620000"/>
          </a:xfrm>
        </p:spPr>
        <p:txBody>
          <a:bodyPr>
            <a:noAutofit/>
          </a:bodyPr>
          <a:lstStyle/>
          <a:p>
            <a:endParaRPr lang="en-DK"/>
          </a:p>
        </p:txBody>
      </p:sp>
      <p:sp>
        <p:nvSpPr>
          <p:cNvPr id="14" name="Picture Placeholder 8">
            <a:extLst>
              <a:ext uri="{FF2B5EF4-FFF2-40B4-BE49-F238E27FC236}">
                <a16:creationId xmlns:a16="http://schemas.microsoft.com/office/drawing/2014/main" id="{5BFF5F76-538B-1FCC-3505-372495B7F24C}"/>
              </a:ext>
            </a:extLst>
          </p:cNvPr>
          <p:cNvSpPr>
            <a:spLocks noGrp="1" noRot="1" noMove="1" noResize="1" noEditPoints="1" noAdjustHandles="1" noChangeArrowheads="1" noChangeShapeType="1"/>
          </p:cNvSpPr>
          <p:nvPr>
            <p:ph type="pic" sz="quarter" idx="14"/>
          </p:nvPr>
        </p:nvSpPr>
        <p:spPr>
          <a:xfrm>
            <a:off x="442913" y="3767320"/>
            <a:ext cx="3528000" cy="1620000"/>
          </a:xfrm>
        </p:spPr>
        <p:txBody>
          <a:bodyPr>
            <a:noAutofit/>
          </a:bodyPr>
          <a:lstStyle/>
          <a:p>
            <a:endParaRPr lang="en-DK"/>
          </a:p>
        </p:txBody>
      </p:sp>
      <p:sp>
        <p:nvSpPr>
          <p:cNvPr id="15" name="Picture Placeholder 8">
            <a:extLst>
              <a:ext uri="{FF2B5EF4-FFF2-40B4-BE49-F238E27FC236}">
                <a16:creationId xmlns:a16="http://schemas.microsoft.com/office/drawing/2014/main" id="{25295BD2-B481-CDDE-D590-8A2F9CAFA239}"/>
              </a:ext>
            </a:extLst>
          </p:cNvPr>
          <p:cNvSpPr>
            <a:spLocks noGrp="1" noRot="1" noMove="1" noResize="1" noEditPoints="1" noAdjustHandles="1" noChangeArrowheads="1" noChangeShapeType="1"/>
          </p:cNvSpPr>
          <p:nvPr>
            <p:ph type="pic" sz="quarter" idx="15"/>
          </p:nvPr>
        </p:nvSpPr>
        <p:spPr>
          <a:xfrm>
            <a:off x="4332000" y="3767320"/>
            <a:ext cx="3528000" cy="1620000"/>
          </a:xfrm>
        </p:spPr>
        <p:txBody>
          <a:bodyPr>
            <a:noAutofit/>
          </a:bodyPr>
          <a:lstStyle/>
          <a:p>
            <a:endParaRPr lang="en-DK"/>
          </a:p>
        </p:txBody>
      </p:sp>
      <p:sp>
        <p:nvSpPr>
          <p:cNvPr id="16" name="Picture Placeholder 8">
            <a:extLst>
              <a:ext uri="{FF2B5EF4-FFF2-40B4-BE49-F238E27FC236}">
                <a16:creationId xmlns:a16="http://schemas.microsoft.com/office/drawing/2014/main" id="{36536F96-8E88-16C5-F564-E33CBC15659D}"/>
              </a:ext>
            </a:extLst>
          </p:cNvPr>
          <p:cNvSpPr>
            <a:spLocks noGrp="1" noRot="1" noMove="1" noResize="1" noEditPoints="1" noAdjustHandles="1" noChangeArrowheads="1" noChangeShapeType="1"/>
          </p:cNvSpPr>
          <p:nvPr>
            <p:ph type="pic" sz="quarter" idx="16"/>
          </p:nvPr>
        </p:nvSpPr>
        <p:spPr>
          <a:xfrm>
            <a:off x="8221089" y="3767320"/>
            <a:ext cx="3528000" cy="1620000"/>
          </a:xfrm>
        </p:spPr>
        <p:txBody>
          <a:bodyPr>
            <a:noAutofit/>
          </a:bodyPr>
          <a:lstStyle/>
          <a:p>
            <a:endParaRPr lang="en-DK"/>
          </a:p>
        </p:txBody>
      </p:sp>
      <p:sp>
        <p:nvSpPr>
          <p:cNvPr id="18" name="Text Placeholder 17">
            <a:extLst>
              <a:ext uri="{FF2B5EF4-FFF2-40B4-BE49-F238E27FC236}">
                <a16:creationId xmlns:a16="http://schemas.microsoft.com/office/drawing/2014/main" id="{4EDCD53A-F8B2-9435-3663-00EBFCCE5640}"/>
              </a:ext>
            </a:extLst>
          </p:cNvPr>
          <p:cNvSpPr>
            <a:spLocks noGrp="1" noRot="1" noMove="1" noResize="1" noEditPoints="1" noAdjustHandles="1" noChangeArrowheads="1" noChangeShapeType="1"/>
          </p:cNvSpPr>
          <p:nvPr>
            <p:ph type="body" sz="quarter" idx="17"/>
          </p:nvPr>
        </p:nvSpPr>
        <p:spPr>
          <a:xfrm>
            <a:off x="442913"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19" name="Text Placeholder 17">
            <a:extLst>
              <a:ext uri="{FF2B5EF4-FFF2-40B4-BE49-F238E27FC236}">
                <a16:creationId xmlns:a16="http://schemas.microsoft.com/office/drawing/2014/main" id="{4350FA8E-F072-C4E3-5AB6-AB8553BFA51C}"/>
              </a:ext>
            </a:extLst>
          </p:cNvPr>
          <p:cNvSpPr>
            <a:spLocks noGrp="1" noRot="1" noMove="1" noResize="1" noEditPoints="1" noAdjustHandles="1" noChangeArrowheads="1" noChangeShapeType="1"/>
          </p:cNvSpPr>
          <p:nvPr>
            <p:ph type="body" sz="quarter" idx="18"/>
          </p:nvPr>
        </p:nvSpPr>
        <p:spPr>
          <a:xfrm>
            <a:off x="4332000"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0" name="Text Placeholder 17">
            <a:extLst>
              <a:ext uri="{FF2B5EF4-FFF2-40B4-BE49-F238E27FC236}">
                <a16:creationId xmlns:a16="http://schemas.microsoft.com/office/drawing/2014/main" id="{C787A05E-7A29-06A0-2CC8-14EABA4B6126}"/>
              </a:ext>
            </a:extLst>
          </p:cNvPr>
          <p:cNvSpPr>
            <a:spLocks noGrp="1" noRot="1" noMove="1" noResize="1" noEditPoints="1" noAdjustHandles="1" noChangeArrowheads="1" noChangeShapeType="1"/>
          </p:cNvSpPr>
          <p:nvPr>
            <p:ph type="body" sz="quarter" idx="19"/>
          </p:nvPr>
        </p:nvSpPr>
        <p:spPr>
          <a:xfrm>
            <a:off x="8221089"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1" name="Text Placeholder 17">
            <a:extLst>
              <a:ext uri="{FF2B5EF4-FFF2-40B4-BE49-F238E27FC236}">
                <a16:creationId xmlns:a16="http://schemas.microsoft.com/office/drawing/2014/main" id="{A3268353-E759-E669-1ECD-D8549F9C410D}"/>
              </a:ext>
            </a:extLst>
          </p:cNvPr>
          <p:cNvSpPr>
            <a:spLocks noGrp="1" noRot="1" noMove="1" noResize="1" noEditPoints="1" noAdjustHandles="1" noChangeArrowheads="1" noChangeShapeType="1"/>
          </p:cNvSpPr>
          <p:nvPr>
            <p:ph type="body" sz="quarter" idx="20"/>
          </p:nvPr>
        </p:nvSpPr>
        <p:spPr>
          <a:xfrm>
            <a:off x="442913"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2" name="Text Placeholder 17">
            <a:extLst>
              <a:ext uri="{FF2B5EF4-FFF2-40B4-BE49-F238E27FC236}">
                <a16:creationId xmlns:a16="http://schemas.microsoft.com/office/drawing/2014/main" id="{4A946D09-490F-934A-6F13-D49C32E75D0E}"/>
              </a:ext>
            </a:extLst>
          </p:cNvPr>
          <p:cNvSpPr>
            <a:spLocks noGrp="1" noRot="1" noMove="1" noResize="1" noEditPoints="1" noAdjustHandles="1" noChangeArrowheads="1" noChangeShapeType="1"/>
          </p:cNvSpPr>
          <p:nvPr>
            <p:ph type="body" sz="quarter" idx="21"/>
          </p:nvPr>
        </p:nvSpPr>
        <p:spPr>
          <a:xfrm>
            <a:off x="4332000"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3" name="Text Placeholder 17">
            <a:extLst>
              <a:ext uri="{FF2B5EF4-FFF2-40B4-BE49-F238E27FC236}">
                <a16:creationId xmlns:a16="http://schemas.microsoft.com/office/drawing/2014/main" id="{2401C564-B48E-25CA-2395-9D3746E5FBED}"/>
              </a:ext>
            </a:extLst>
          </p:cNvPr>
          <p:cNvSpPr>
            <a:spLocks noGrp="1" noRot="1" noMove="1" noResize="1" noEditPoints="1" noAdjustHandles="1" noChangeArrowheads="1" noChangeShapeType="1"/>
          </p:cNvSpPr>
          <p:nvPr>
            <p:ph type="body" sz="quarter" idx="22"/>
          </p:nvPr>
        </p:nvSpPr>
        <p:spPr>
          <a:xfrm>
            <a:off x="8221089"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5" name="Slide Number Placeholder 4">
            <a:extLst>
              <a:ext uri="{FF2B5EF4-FFF2-40B4-BE49-F238E27FC236}">
                <a16:creationId xmlns:a16="http://schemas.microsoft.com/office/drawing/2014/main" id="{2064941C-1798-EA8C-EFD6-902B00AB5461}"/>
              </a:ext>
            </a:extLst>
          </p:cNvPr>
          <p:cNvSpPr>
            <a:spLocks noGrp="1"/>
          </p:cNvSpPr>
          <p:nvPr>
            <p:ph type="sldNum" sz="quarter" idx="24"/>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2C2BECDE-B53C-4CB9-4712-0A4852F45F22}"/>
              </a:ext>
            </a:extLst>
          </p:cNvPr>
          <p:cNvSpPr>
            <a:spLocks noGrp="1"/>
          </p:cNvSpPr>
          <p:nvPr>
            <p:ph type="ftr" sz="quarter" idx="25"/>
          </p:nvPr>
        </p:nvSpPr>
        <p:spPr/>
        <p:txBody>
          <a:bodyPr/>
          <a:lstStyle/>
          <a:p>
            <a:endParaRPr lang="en-IE"/>
          </a:p>
        </p:txBody>
      </p:sp>
    </p:spTree>
    <p:extLst>
      <p:ext uri="{BB962C8B-B14F-4D97-AF65-F5344CB8AC3E}">
        <p14:creationId xmlns:p14="http://schemas.microsoft.com/office/powerpoint/2010/main" val="2473920949"/>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BLUE_Title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3" y="18295"/>
            <a:ext cx="11307600" cy="882000"/>
          </a:xfrm>
        </p:spPr>
        <p:txBody>
          <a:bodyPr anchor="b" anchorCtr="0">
            <a:noAutofit/>
          </a:bodyPr>
          <a:lstStyle>
            <a:lvl1pPr>
              <a:defRPr sz="2400" b="1">
                <a:solidFill>
                  <a:schemeClr val="bg1"/>
                </a:solidFill>
              </a:defRPr>
            </a:lvl1pPr>
          </a:lstStyle>
          <a:p>
            <a:r>
              <a:rPr lang="en-GB"/>
              <a:t>Click to edit Master title style</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Slide Number Placeholder 4">
            <a:extLst>
              <a:ext uri="{FF2B5EF4-FFF2-40B4-BE49-F238E27FC236}">
                <a16:creationId xmlns:a16="http://schemas.microsoft.com/office/drawing/2014/main" id="{2064941C-1798-EA8C-EFD6-902B00AB5461}"/>
              </a:ext>
            </a:extLst>
          </p:cNvPr>
          <p:cNvSpPr>
            <a:spLocks noGrp="1"/>
          </p:cNvSpPr>
          <p:nvPr>
            <p:ph type="sldNum" sz="quarter" idx="24"/>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8D0287E8-2699-2C05-D546-0BEFAC0B0DC3}"/>
              </a:ext>
            </a:extLst>
          </p:cNvPr>
          <p:cNvSpPr>
            <a:spLocks noGrp="1"/>
          </p:cNvSpPr>
          <p:nvPr>
            <p:ph type="ftr" sz="quarter" idx="25"/>
          </p:nvPr>
        </p:nvSpPr>
        <p:spPr/>
        <p:txBody>
          <a:bodyPr/>
          <a:lstStyle/>
          <a:p>
            <a:endParaRPr lang="en-IE"/>
          </a:p>
        </p:txBody>
      </p:sp>
    </p:spTree>
    <p:extLst>
      <p:ext uri="{BB962C8B-B14F-4D97-AF65-F5344CB8AC3E}">
        <p14:creationId xmlns:p14="http://schemas.microsoft.com/office/powerpoint/2010/main" val="1666327666"/>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BLUE_Blank_Jan_2025">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5DF32B6-4780-15F1-FD41-B8BE48FC2556}"/>
              </a:ext>
            </a:extLst>
          </p:cNvPr>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3" name="Footer Placeholder 2">
            <a:extLst>
              <a:ext uri="{FF2B5EF4-FFF2-40B4-BE49-F238E27FC236}">
                <a16:creationId xmlns:a16="http://schemas.microsoft.com/office/drawing/2014/main" id="{D99D115B-9C77-8E9B-CD2B-01C3F4EE600D}"/>
              </a:ext>
            </a:extLst>
          </p:cNvPr>
          <p:cNvSpPr>
            <a:spLocks noGrp="1"/>
          </p:cNvSpPr>
          <p:nvPr>
            <p:ph type="ftr" sz="quarter" idx="10"/>
          </p:nvPr>
        </p:nvSpPr>
        <p:spPr/>
        <p:txBody>
          <a:bodyPr/>
          <a:lstStyle/>
          <a:p>
            <a:endParaRPr lang="en-IE"/>
          </a:p>
        </p:txBody>
      </p:sp>
      <p:sp>
        <p:nvSpPr>
          <p:cNvPr id="4" name="Slide Number Placeholder 3">
            <a:extLst>
              <a:ext uri="{FF2B5EF4-FFF2-40B4-BE49-F238E27FC236}">
                <a16:creationId xmlns:a16="http://schemas.microsoft.com/office/drawing/2014/main" id="{49D842B0-2A53-0968-D94B-60EBDF19F3F9}"/>
              </a:ext>
            </a:extLst>
          </p:cNvPr>
          <p:cNvSpPr>
            <a:spLocks noGrp="1"/>
          </p:cNvSpPr>
          <p:nvPr>
            <p:ph type="sldNum" sz="quarter" idx="11"/>
          </p:nvPr>
        </p:nvSpPr>
        <p:spPr/>
        <p:txBody>
          <a:bodyPr/>
          <a:lstStyle/>
          <a:p>
            <a:fld id="{64D2DCB6-719E-0F43-A160-E508323EF71D}" type="slidenum">
              <a:rPr lang="en-DK" smtClean="0"/>
              <a:pPr/>
              <a:t>‹#›</a:t>
            </a:fld>
            <a:endParaRPr lang="en-DK"/>
          </a:p>
        </p:txBody>
      </p:sp>
    </p:spTree>
    <p:extLst>
      <p:ext uri="{BB962C8B-B14F-4D97-AF65-F5344CB8AC3E}">
        <p14:creationId xmlns:p14="http://schemas.microsoft.com/office/powerpoint/2010/main" val="404881255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_BLUE_Thank You_Jan_2025">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5DF32B6-4780-15F1-FD41-B8BE48FC2556}"/>
              </a:ext>
            </a:extLst>
          </p:cNvPr>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Title 1">
            <a:extLst>
              <a:ext uri="{FF2B5EF4-FFF2-40B4-BE49-F238E27FC236}">
                <a16:creationId xmlns:a16="http://schemas.microsoft.com/office/drawing/2014/main" id="{5B8991F1-66EA-ABF3-1678-280DD68BE83A}"/>
              </a:ext>
            </a:extLst>
          </p:cNvPr>
          <p:cNvSpPr>
            <a:spLocks noGrp="1"/>
          </p:cNvSpPr>
          <p:nvPr>
            <p:ph type="ctrTitle" hasCustomPrompt="1"/>
          </p:nvPr>
        </p:nvSpPr>
        <p:spPr>
          <a:xfrm>
            <a:off x="442913" y="2830478"/>
            <a:ext cx="10801350" cy="680206"/>
          </a:xfrm>
        </p:spPr>
        <p:txBody>
          <a:bodyPr anchor="ctr" anchorCtr="0">
            <a:noAutofit/>
          </a:bodyPr>
          <a:lstStyle>
            <a:lvl1pPr algn="l">
              <a:defRPr sz="5400" b="1">
                <a:solidFill>
                  <a:schemeClr val="bg1"/>
                </a:solidFill>
              </a:defRPr>
            </a:lvl1pPr>
          </a:lstStyle>
          <a:p>
            <a:r>
              <a:rPr lang="en-GB"/>
              <a:t>Thank you</a:t>
            </a:r>
            <a:endParaRPr lang="en-DK"/>
          </a:p>
        </p:txBody>
      </p:sp>
      <p:sp>
        <p:nvSpPr>
          <p:cNvPr id="6" name="Footer Placeholder 4">
            <a:extLst>
              <a:ext uri="{FF2B5EF4-FFF2-40B4-BE49-F238E27FC236}">
                <a16:creationId xmlns:a16="http://schemas.microsoft.com/office/drawing/2014/main" id="{BED417A1-D05F-F556-985B-CD262FF52BA3}"/>
              </a:ext>
            </a:extLst>
          </p:cNvPr>
          <p:cNvSpPr txBox="1"/>
          <p:nvPr userDrawn="1"/>
        </p:nvSpPr>
        <p:spPr>
          <a:xfrm>
            <a:off x="456662" y="6435071"/>
            <a:ext cx="3421063" cy="320675"/>
          </a:xfrm>
          <a:prstGeom prst="rect">
            <a:avLst/>
          </a:prstGeom>
        </p:spPr>
        <p:txBody>
          <a:bodyPr vert="horz" lIns="0" tIns="45720" rIns="0" bIns="45720" rtlCol="0" anchor="ctr" anchorCtr="0"/>
          <a:lstStyle>
            <a:defPPr>
              <a:defRPr lang="en-DK"/>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 2025 Johnson Controls. All rights reserved.</a:t>
            </a:r>
            <a:endParaRPr lang="en-DK"/>
          </a:p>
        </p:txBody>
      </p:sp>
      <p:grpSp>
        <p:nvGrpSpPr>
          <p:cNvPr id="7" name="Graphic 3">
            <a:extLst>
              <a:ext uri="{FF2B5EF4-FFF2-40B4-BE49-F238E27FC236}">
                <a16:creationId xmlns:a16="http://schemas.microsoft.com/office/drawing/2014/main" id="{B3A20BFA-9EE4-B799-F161-499D17C715DF}"/>
              </a:ext>
            </a:extLst>
          </p:cNvPr>
          <p:cNvGrpSpPr/>
          <p:nvPr userDrawn="1"/>
        </p:nvGrpSpPr>
        <p:grpSpPr>
          <a:xfrm>
            <a:off x="5812299" y="431633"/>
            <a:ext cx="5720311" cy="5674199"/>
            <a:chOff x="3250256" y="583610"/>
            <a:chExt cx="3683878" cy="3693751"/>
          </a:xfrm>
          <a:solidFill>
            <a:schemeClr val="bg1">
              <a:alpha val="15000"/>
            </a:schemeClr>
          </a:solidFill>
        </p:grpSpPr>
        <p:sp>
          <p:nvSpPr>
            <p:cNvPr id="8" name="Freeform 7">
              <a:extLst>
                <a:ext uri="{FF2B5EF4-FFF2-40B4-BE49-F238E27FC236}">
                  <a16:creationId xmlns:a16="http://schemas.microsoft.com/office/drawing/2014/main" id="{558A2D5C-C90B-8134-00AD-8C67C4833899}"/>
                </a:ext>
              </a:extLst>
            </p:cNvPr>
            <p:cNvSpPr/>
            <p:nvPr/>
          </p:nvSpPr>
          <p:spPr>
            <a:xfrm>
              <a:off x="6551331" y="2007805"/>
              <a:ext cx="382803" cy="1355537"/>
            </a:xfrm>
            <a:custGeom>
              <a:avLst/>
              <a:gdLst>
                <a:gd name="connsiteX0" fmla="*/ 333447 w 382803"/>
                <a:gd name="connsiteY0" fmla="*/ 0 h 1355537"/>
                <a:gd name="connsiteX1" fmla="*/ 132995 w 382803"/>
                <a:gd name="connsiteY1" fmla="*/ 1355537 h 1355537"/>
                <a:gd name="connsiteX2" fmla="*/ 382804 w 382803"/>
                <a:gd name="connsiteY2" fmla="*/ 424302 h 1355537"/>
                <a:gd name="connsiteX3" fmla="*/ 333447 w 382803"/>
                <a:gd name="connsiteY3" fmla="*/ 0 h 1355537"/>
              </a:gdLst>
              <a:ahLst/>
              <a:cxnLst>
                <a:cxn ang="0">
                  <a:pos x="connsiteX0" y="connsiteY0"/>
                </a:cxn>
                <a:cxn ang="0">
                  <a:pos x="connsiteX1" y="connsiteY1"/>
                </a:cxn>
                <a:cxn ang="0">
                  <a:pos x="connsiteX2" y="connsiteY2"/>
                </a:cxn>
                <a:cxn ang="0">
                  <a:pos x="connsiteX3" y="connsiteY3"/>
                </a:cxn>
              </a:cxnLst>
              <a:rect l="l" t="t" r="r" b="b"/>
              <a:pathLst>
                <a:path w="382803" h="1355537">
                  <a:moveTo>
                    <a:pt x="333447" y="0"/>
                  </a:moveTo>
                  <a:cubicBezTo>
                    <a:pt x="4464" y="284150"/>
                    <a:pt x="-116411" y="957970"/>
                    <a:pt x="132995" y="1355537"/>
                  </a:cubicBezTo>
                  <a:cubicBezTo>
                    <a:pt x="291543" y="1081716"/>
                    <a:pt x="382804" y="763945"/>
                    <a:pt x="382804" y="424302"/>
                  </a:cubicBezTo>
                  <a:cubicBezTo>
                    <a:pt x="382602" y="278277"/>
                    <a:pt x="365277" y="136506"/>
                    <a:pt x="333447" y="0"/>
                  </a:cubicBezTo>
                  <a:close/>
                </a:path>
              </a:pathLst>
            </a:custGeom>
            <a:grpFill/>
            <a:ln w="20108"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461BABD-E5ED-7E6F-31F4-AA9D5406CFC6}"/>
                </a:ext>
              </a:extLst>
            </p:cNvPr>
            <p:cNvSpPr/>
            <p:nvPr/>
          </p:nvSpPr>
          <p:spPr>
            <a:xfrm>
              <a:off x="3250256" y="1097835"/>
              <a:ext cx="559451" cy="1205462"/>
            </a:xfrm>
            <a:custGeom>
              <a:avLst/>
              <a:gdLst>
                <a:gd name="connsiteX0" fmla="*/ 559452 w 559451"/>
                <a:gd name="connsiteY0" fmla="*/ 0 h 1205462"/>
                <a:gd name="connsiteX1" fmla="*/ 0 w 559451"/>
                <a:gd name="connsiteY1" fmla="*/ 1205462 h 1205462"/>
                <a:gd name="connsiteX2" fmla="*/ 559452 w 559451"/>
                <a:gd name="connsiteY2" fmla="*/ 0 h 1205462"/>
              </a:gdLst>
              <a:ahLst/>
              <a:cxnLst>
                <a:cxn ang="0">
                  <a:pos x="connsiteX0" y="connsiteY0"/>
                </a:cxn>
                <a:cxn ang="0">
                  <a:pos x="connsiteX1" y="connsiteY1"/>
                </a:cxn>
                <a:cxn ang="0">
                  <a:pos x="connsiteX2" y="connsiteY2"/>
                </a:cxn>
              </a:cxnLst>
              <a:rect l="l" t="t" r="r" b="b"/>
              <a:pathLst>
                <a:path w="559451" h="1205462">
                  <a:moveTo>
                    <a:pt x="559452" y="0"/>
                  </a:moveTo>
                  <a:cubicBezTo>
                    <a:pt x="240542" y="309264"/>
                    <a:pt x="32435" y="732958"/>
                    <a:pt x="0" y="1205462"/>
                  </a:cubicBezTo>
                  <a:cubicBezTo>
                    <a:pt x="307225" y="909565"/>
                    <a:pt x="499014" y="435441"/>
                    <a:pt x="559452" y="0"/>
                  </a:cubicBezTo>
                  <a:close/>
                </a:path>
              </a:pathLst>
            </a:custGeom>
            <a:grpFill/>
            <a:ln w="2010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33668C7-4727-E910-B85A-71D404E21EE7}"/>
                </a:ext>
              </a:extLst>
            </p:cNvPr>
            <p:cNvSpPr/>
            <p:nvPr/>
          </p:nvSpPr>
          <p:spPr>
            <a:xfrm>
              <a:off x="3262948" y="823608"/>
              <a:ext cx="922096" cy="2136697"/>
            </a:xfrm>
            <a:custGeom>
              <a:avLst/>
              <a:gdLst>
                <a:gd name="connsiteX0" fmla="*/ 910192 w 922096"/>
                <a:gd name="connsiteY0" fmla="*/ 0 h 2136697"/>
                <a:gd name="connsiteX1" fmla="*/ 825982 w 922096"/>
                <a:gd name="connsiteY1" fmla="*/ 51645 h 2136697"/>
                <a:gd name="connsiteX2" fmla="*/ 0 w 922096"/>
                <a:gd name="connsiteY2" fmla="*/ 1862876 h 2136697"/>
                <a:gd name="connsiteX3" fmla="*/ 58826 w 922096"/>
                <a:gd name="connsiteY3" fmla="*/ 2136698 h 2136697"/>
                <a:gd name="connsiteX4" fmla="*/ 910192 w 922096"/>
                <a:gd name="connsiteY4" fmla="*/ 0 h 2136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096" h="2136697">
                  <a:moveTo>
                    <a:pt x="910192" y="0"/>
                  </a:moveTo>
                  <a:cubicBezTo>
                    <a:pt x="881585" y="16405"/>
                    <a:pt x="853582" y="33823"/>
                    <a:pt x="825982" y="51645"/>
                  </a:cubicBezTo>
                  <a:cubicBezTo>
                    <a:pt x="637013" y="947033"/>
                    <a:pt x="398889" y="1392600"/>
                    <a:pt x="0" y="1862876"/>
                  </a:cubicBezTo>
                  <a:cubicBezTo>
                    <a:pt x="12893" y="1956446"/>
                    <a:pt x="32435" y="2047989"/>
                    <a:pt x="58826" y="2136698"/>
                  </a:cubicBezTo>
                  <a:cubicBezTo>
                    <a:pt x="812283" y="1670877"/>
                    <a:pt x="971435" y="631895"/>
                    <a:pt x="910192" y="0"/>
                  </a:cubicBezTo>
                  <a:close/>
                </a:path>
              </a:pathLst>
            </a:custGeom>
            <a:grpFill/>
            <a:ln w="2010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078FC699-D3EE-C822-E892-D81420C0FEAC}"/>
                </a:ext>
              </a:extLst>
            </p:cNvPr>
            <p:cNvSpPr/>
            <p:nvPr/>
          </p:nvSpPr>
          <p:spPr>
            <a:xfrm>
              <a:off x="4443498" y="586242"/>
              <a:ext cx="1233608" cy="3691119"/>
            </a:xfrm>
            <a:custGeom>
              <a:avLst/>
              <a:gdLst>
                <a:gd name="connsiteX0" fmla="*/ 1229303 w 1233608"/>
                <a:gd name="connsiteY0" fmla="*/ 1474625 h 3691119"/>
                <a:gd name="connsiteX1" fmla="*/ 920063 w 1233608"/>
                <a:gd name="connsiteY1" fmla="*/ 12354 h 3691119"/>
                <a:gd name="connsiteX2" fmla="*/ 813290 w 1233608"/>
                <a:gd name="connsiteY2" fmla="*/ 0 h 3691119"/>
                <a:gd name="connsiteX3" fmla="*/ 0 w 1233608"/>
                <a:gd name="connsiteY3" fmla="*/ 3582766 h 3691119"/>
                <a:gd name="connsiteX4" fmla="*/ 463960 w 1233608"/>
                <a:gd name="connsiteY4" fmla="*/ 3691120 h 3691119"/>
                <a:gd name="connsiteX5" fmla="*/ 1229303 w 1233608"/>
                <a:gd name="connsiteY5" fmla="*/ 1474625 h 369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3608" h="3691119">
                  <a:moveTo>
                    <a:pt x="1229303" y="1474625"/>
                  </a:moveTo>
                  <a:cubicBezTo>
                    <a:pt x="1206538" y="943793"/>
                    <a:pt x="1095736" y="447390"/>
                    <a:pt x="920063" y="12354"/>
                  </a:cubicBezTo>
                  <a:cubicBezTo>
                    <a:pt x="884808" y="7291"/>
                    <a:pt x="849150" y="3038"/>
                    <a:pt x="813290" y="0"/>
                  </a:cubicBezTo>
                  <a:cubicBezTo>
                    <a:pt x="982314" y="1439992"/>
                    <a:pt x="851769" y="2726062"/>
                    <a:pt x="0" y="3582766"/>
                  </a:cubicBezTo>
                  <a:cubicBezTo>
                    <a:pt x="146662" y="3638057"/>
                    <a:pt x="302189" y="3675120"/>
                    <a:pt x="463960" y="3691120"/>
                  </a:cubicBezTo>
                  <a:cubicBezTo>
                    <a:pt x="967003" y="3246970"/>
                    <a:pt x="1274027" y="2509557"/>
                    <a:pt x="1229303" y="1474625"/>
                  </a:cubicBezTo>
                  <a:close/>
                </a:path>
              </a:pathLst>
            </a:custGeom>
            <a:grpFill/>
            <a:ln w="2010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FF1F1F4-9860-AD48-FE15-91F8B1AFF0FB}"/>
                </a:ext>
              </a:extLst>
            </p:cNvPr>
            <p:cNvSpPr/>
            <p:nvPr/>
          </p:nvSpPr>
          <p:spPr>
            <a:xfrm>
              <a:off x="3830458" y="583610"/>
              <a:ext cx="1297623" cy="3413653"/>
            </a:xfrm>
            <a:custGeom>
              <a:avLst/>
              <a:gdLst>
                <a:gd name="connsiteX0" fmla="*/ 1124141 w 1297623"/>
                <a:gd name="connsiteY0" fmla="*/ 0 h 3413653"/>
                <a:gd name="connsiteX1" fmla="*/ 1019383 w 1297623"/>
                <a:gd name="connsiteY1" fmla="*/ 10532 h 3413653"/>
                <a:gd name="connsiteX2" fmla="*/ 0 w 1297623"/>
                <a:gd name="connsiteY2" fmla="*/ 3202819 h 3413653"/>
                <a:gd name="connsiteX3" fmla="*/ 270559 w 1297623"/>
                <a:gd name="connsiteY3" fmla="*/ 3413653 h 3413653"/>
                <a:gd name="connsiteX4" fmla="*/ 1124141 w 1297623"/>
                <a:gd name="connsiteY4" fmla="*/ 0 h 3413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23" h="3413653">
                  <a:moveTo>
                    <a:pt x="1124141" y="0"/>
                  </a:moveTo>
                  <a:cubicBezTo>
                    <a:pt x="1088886" y="2430"/>
                    <a:pt x="1054034" y="6076"/>
                    <a:pt x="1019383" y="10532"/>
                  </a:cubicBezTo>
                  <a:cubicBezTo>
                    <a:pt x="1053631" y="961413"/>
                    <a:pt x="934971" y="2413152"/>
                    <a:pt x="0" y="3202819"/>
                  </a:cubicBezTo>
                  <a:cubicBezTo>
                    <a:pt x="83404" y="3281198"/>
                    <a:pt x="174061" y="3351881"/>
                    <a:pt x="270559" y="3413653"/>
                  </a:cubicBezTo>
                  <a:cubicBezTo>
                    <a:pt x="1435395" y="2617708"/>
                    <a:pt x="1429755" y="1060855"/>
                    <a:pt x="1124141" y="0"/>
                  </a:cubicBezTo>
                  <a:close/>
                </a:path>
              </a:pathLst>
            </a:custGeom>
            <a:grpFill/>
            <a:ln w="2010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F4276-C10D-A30B-E6A9-55E73E783D70}"/>
                </a:ext>
              </a:extLst>
            </p:cNvPr>
            <p:cNvSpPr/>
            <p:nvPr/>
          </p:nvSpPr>
          <p:spPr>
            <a:xfrm>
              <a:off x="3447686" y="659964"/>
              <a:ext cx="1174586" cy="2873301"/>
            </a:xfrm>
            <a:custGeom>
              <a:avLst/>
              <a:gdLst>
                <a:gd name="connsiteX0" fmla="*/ 1099160 w 1174586"/>
                <a:gd name="connsiteY0" fmla="*/ 0 h 2873301"/>
                <a:gd name="connsiteX1" fmla="*/ 1007698 w 1174586"/>
                <a:gd name="connsiteY1" fmla="*/ 30582 h 2873301"/>
                <a:gd name="connsiteX2" fmla="*/ 0 w 1174586"/>
                <a:gd name="connsiteY2" fmla="*/ 2615885 h 2873301"/>
                <a:gd name="connsiteX3" fmla="*/ 158750 w 1174586"/>
                <a:gd name="connsiteY3" fmla="*/ 2873302 h 2873301"/>
                <a:gd name="connsiteX4" fmla="*/ 1099160 w 1174586"/>
                <a:gd name="connsiteY4" fmla="*/ 0 h 2873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586" h="2873301">
                  <a:moveTo>
                    <a:pt x="1099160" y="0"/>
                  </a:moveTo>
                  <a:cubicBezTo>
                    <a:pt x="1068136" y="9519"/>
                    <a:pt x="1037715" y="19645"/>
                    <a:pt x="1007698" y="30582"/>
                  </a:cubicBezTo>
                  <a:cubicBezTo>
                    <a:pt x="951894" y="1024197"/>
                    <a:pt x="737541" y="1943079"/>
                    <a:pt x="0" y="2615885"/>
                  </a:cubicBezTo>
                  <a:cubicBezTo>
                    <a:pt x="45933" y="2706214"/>
                    <a:pt x="99118" y="2792289"/>
                    <a:pt x="158750" y="2873302"/>
                  </a:cubicBezTo>
                  <a:cubicBezTo>
                    <a:pt x="1112457" y="2294469"/>
                    <a:pt x="1307469" y="922729"/>
                    <a:pt x="1099160" y="0"/>
                  </a:cubicBezTo>
                  <a:close/>
                </a:path>
              </a:pathLst>
            </a:custGeom>
            <a:grpFill/>
            <a:ln w="2010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6E513C0D-E056-EE48-D53A-0A305BB586BE}"/>
                </a:ext>
              </a:extLst>
            </p:cNvPr>
            <p:cNvSpPr/>
            <p:nvPr/>
          </p:nvSpPr>
          <p:spPr>
            <a:xfrm>
              <a:off x="5756809" y="1076164"/>
              <a:ext cx="674686" cy="1017108"/>
            </a:xfrm>
            <a:custGeom>
              <a:avLst/>
              <a:gdLst>
                <a:gd name="connsiteX0" fmla="*/ 76957 w 674686"/>
                <a:gd name="connsiteY0" fmla="*/ 1017109 h 1017108"/>
                <a:gd name="connsiteX1" fmla="*/ 674686 w 674686"/>
                <a:gd name="connsiteY1" fmla="*/ 84455 h 1017108"/>
                <a:gd name="connsiteX2" fmla="*/ 590275 w 674686"/>
                <a:gd name="connsiteY2" fmla="*/ 0 h 1017108"/>
                <a:gd name="connsiteX3" fmla="*/ 0 w 674686"/>
                <a:gd name="connsiteY3" fmla="*/ 406479 h 1017108"/>
                <a:gd name="connsiteX4" fmla="*/ 76957 w 674686"/>
                <a:gd name="connsiteY4" fmla="*/ 1017109 h 1017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686" h="1017108">
                  <a:moveTo>
                    <a:pt x="76957" y="1017109"/>
                  </a:moveTo>
                  <a:cubicBezTo>
                    <a:pt x="188767" y="647288"/>
                    <a:pt x="415811" y="290631"/>
                    <a:pt x="674686" y="84455"/>
                  </a:cubicBezTo>
                  <a:cubicBezTo>
                    <a:pt x="647489" y="55493"/>
                    <a:pt x="619285" y="27342"/>
                    <a:pt x="590275" y="0"/>
                  </a:cubicBezTo>
                  <a:cubicBezTo>
                    <a:pt x="359201" y="113822"/>
                    <a:pt x="161167" y="249518"/>
                    <a:pt x="0" y="406479"/>
                  </a:cubicBezTo>
                  <a:cubicBezTo>
                    <a:pt x="40292" y="605769"/>
                    <a:pt x="67690" y="810730"/>
                    <a:pt x="76957" y="1017109"/>
                  </a:cubicBezTo>
                  <a:close/>
                </a:path>
              </a:pathLst>
            </a:custGeom>
            <a:grpFill/>
            <a:ln w="20108"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DFAB00C9-9520-F3E9-0D88-F25F8BB0B903}"/>
                </a:ext>
              </a:extLst>
            </p:cNvPr>
            <p:cNvSpPr/>
            <p:nvPr/>
          </p:nvSpPr>
          <p:spPr>
            <a:xfrm>
              <a:off x="5567639" y="3009723"/>
              <a:ext cx="599139" cy="1039791"/>
            </a:xfrm>
            <a:custGeom>
              <a:avLst/>
              <a:gdLst>
                <a:gd name="connsiteX0" fmla="*/ 0 w 599139"/>
                <a:gd name="connsiteY0" fmla="*/ 612250 h 1039791"/>
                <a:gd name="connsiteX1" fmla="*/ 425481 w 599139"/>
                <a:gd name="connsiteY1" fmla="*/ 1039792 h 1039791"/>
                <a:gd name="connsiteX2" fmla="*/ 599139 w 599139"/>
                <a:gd name="connsiteY2" fmla="*/ 928198 h 1039791"/>
                <a:gd name="connsiteX3" fmla="*/ 202869 w 599139"/>
                <a:gd name="connsiteY3" fmla="*/ 0 h 1039791"/>
                <a:gd name="connsiteX4" fmla="*/ 0 w 599139"/>
                <a:gd name="connsiteY4" fmla="*/ 612250 h 1039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139" h="1039791">
                  <a:moveTo>
                    <a:pt x="0" y="612250"/>
                  </a:moveTo>
                  <a:cubicBezTo>
                    <a:pt x="111205" y="771034"/>
                    <a:pt x="254241" y="915236"/>
                    <a:pt x="425481" y="1039792"/>
                  </a:cubicBezTo>
                  <a:cubicBezTo>
                    <a:pt x="485516" y="1005767"/>
                    <a:pt x="543536" y="968501"/>
                    <a:pt x="599139" y="928198"/>
                  </a:cubicBezTo>
                  <a:cubicBezTo>
                    <a:pt x="396068" y="649313"/>
                    <a:pt x="260688" y="346125"/>
                    <a:pt x="202869" y="0"/>
                  </a:cubicBezTo>
                  <a:cubicBezTo>
                    <a:pt x="156735" y="226632"/>
                    <a:pt x="88037" y="430175"/>
                    <a:pt x="0" y="612250"/>
                  </a:cubicBezTo>
                  <a:close/>
                </a:path>
              </a:pathLst>
            </a:custGeom>
            <a:grpFill/>
            <a:ln w="20108"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DC40BE2B-7B5C-635C-4E2A-FEF1330D7C84}"/>
                </a:ext>
              </a:extLst>
            </p:cNvPr>
            <p:cNvSpPr/>
            <p:nvPr/>
          </p:nvSpPr>
          <p:spPr>
            <a:xfrm>
              <a:off x="5606319" y="767710"/>
              <a:ext cx="397680" cy="407491"/>
            </a:xfrm>
            <a:custGeom>
              <a:avLst/>
              <a:gdLst>
                <a:gd name="connsiteX0" fmla="*/ 77763 w 397680"/>
                <a:gd name="connsiteY0" fmla="*/ 407492 h 407491"/>
                <a:gd name="connsiteX1" fmla="*/ 397680 w 397680"/>
                <a:gd name="connsiteY1" fmla="*/ 54481 h 407491"/>
                <a:gd name="connsiteX2" fmla="*/ 296346 w 397680"/>
                <a:gd name="connsiteY2" fmla="*/ 0 h 407491"/>
                <a:gd name="connsiteX3" fmla="*/ 0 w 397680"/>
                <a:gd name="connsiteY3" fmla="*/ 149063 h 407491"/>
                <a:gd name="connsiteX4" fmla="*/ 77763 w 397680"/>
                <a:gd name="connsiteY4" fmla="*/ 407492 h 407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680" h="407491">
                  <a:moveTo>
                    <a:pt x="77763" y="407492"/>
                  </a:moveTo>
                  <a:cubicBezTo>
                    <a:pt x="181313" y="284353"/>
                    <a:pt x="289295" y="153923"/>
                    <a:pt x="397680" y="54481"/>
                  </a:cubicBezTo>
                  <a:cubicBezTo>
                    <a:pt x="364439" y="35443"/>
                    <a:pt x="330594" y="17013"/>
                    <a:pt x="296346" y="0"/>
                  </a:cubicBezTo>
                  <a:cubicBezTo>
                    <a:pt x="198840" y="41519"/>
                    <a:pt x="93477" y="93569"/>
                    <a:pt x="0" y="149063"/>
                  </a:cubicBezTo>
                  <a:cubicBezTo>
                    <a:pt x="27801" y="233113"/>
                    <a:pt x="53790" y="319391"/>
                    <a:pt x="77763" y="407492"/>
                  </a:cubicBezTo>
                  <a:close/>
                </a:path>
              </a:pathLst>
            </a:custGeom>
            <a:grpFill/>
            <a:ln w="20108"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B8E6287-4B60-03C2-16A8-876221EF69FC}"/>
                </a:ext>
              </a:extLst>
            </p:cNvPr>
            <p:cNvSpPr/>
            <p:nvPr/>
          </p:nvSpPr>
          <p:spPr>
            <a:xfrm>
              <a:off x="5919010" y="1480415"/>
              <a:ext cx="812859" cy="2281102"/>
            </a:xfrm>
            <a:custGeom>
              <a:avLst/>
              <a:gdLst>
                <a:gd name="connsiteX0" fmla="*/ 812860 w 812859"/>
                <a:gd name="connsiteY0" fmla="*/ 107139 h 2281102"/>
                <a:gd name="connsiteX1" fmla="*/ 754034 w 812859"/>
                <a:gd name="connsiteY1" fmla="*/ 0 h 2281102"/>
                <a:gd name="connsiteX2" fmla="*/ 5211 w 812859"/>
                <a:gd name="connsiteY2" fmla="*/ 1120197 h 2281102"/>
                <a:gd name="connsiteX3" fmla="*/ 457486 w 812859"/>
                <a:gd name="connsiteY3" fmla="*/ 2281102 h 2281102"/>
                <a:gd name="connsiteX4" fmla="*/ 598105 w 812859"/>
                <a:gd name="connsiteY4" fmla="*/ 2127584 h 2281102"/>
                <a:gd name="connsiteX5" fmla="*/ 812860 w 812859"/>
                <a:gd name="connsiteY5" fmla="*/ 107139 h 228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859" h="2281102">
                  <a:moveTo>
                    <a:pt x="812860" y="107139"/>
                  </a:moveTo>
                  <a:cubicBezTo>
                    <a:pt x="794326" y="70683"/>
                    <a:pt x="774784" y="34835"/>
                    <a:pt x="754034" y="0"/>
                  </a:cubicBezTo>
                  <a:cubicBezTo>
                    <a:pt x="328149" y="239594"/>
                    <a:pt x="47920" y="639187"/>
                    <a:pt x="5211" y="1120197"/>
                  </a:cubicBezTo>
                  <a:cubicBezTo>
                    <a:pt x="-32462" y="1544903"/>
                    <a:pt x="135756" y="1975483"/>
                    <a:pt x="457486" y="2281102"/>
                  </a:cubicBezTo>
                  <a:cubicBezTo>
                    <a:pt x="507045" y="2232495"/>
                    <a:pt x="554186" y="2181457"/>
                    <a:pt x="598105" y="2127584"/>
                  </a:cubicBezTo>
                  <a:cubicBezTo>
                    <a:pt x="227823" y="1400702"/>
                    <a:pt x="343461" y="675642"/>
                    <a:pt x="812860" y="107139"/>
                  </a:cubicBezTo>
                  <a:close/>
                </a:path>
              </a:pathLst>
            </a:custGeom>
            <a:grpFill/>
            <a:ln w="2010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65EE9BE-54D7-B626-6DF3-4B84C67E6DBE}"/>
                </a:ext>
              </a:extLst>
            </p:cNvPr>
            <p:cNvSpPr/>
            <p:nvPr/>
          </p:nvSpPr>
          <p:spPr>
            <a:xfrm>
              <a:off x="5275322" y="3839289"/>
              <a:ext cx="434345" cy="404656"/>
            </a:xfrm>
            <a:custGeom>
              <a:avLst/>
              <a:gdLst>
                <a:gd name="connsiteX0" fmla="*/ 207100 w 434345"/>
                <a:gd name="connsiteY0" fmla="*/ 404656 h 404656"/>
                <a:gd name="connsiteX1" fmla="*/ 434346 w 434345"/>
                <a:gd name="connsiteY1" fmla="*/ 344099 h 404656"/>
                <a:gd name="connsiteX2" fmla="*/ 171643 w 434345"/>
                <a:gd name="connsiteY2" fmla="*/ 0 h 404656"/>
                <a:gd name="connsiteX3" fmla="*/ 0 w 434345"/>
                <a:gd name="connsiteY3" fmla="*/ 235948 h 404656"/>
                <a:gd name="connsiteX4" fmla="*/ 207100 w 434345"/>
                <a:gd name="connsiteY4" fmla="*/ 404656 h 404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345" h="404656">
                  <a:moveTo>
                    <a:pt x="207100" y="404656"/>
                  </a:moveTo>
                  <a:cubicBezTo>
                    <a:pt x="284863" y="389264"/>
                    <a:pt x="360612" y="368808"/>
                    <a:pt x="434346" y="344099"/>
                  </a:cubicBezTo>
                  <a:cubicBezTo>
                    <a:pt x="343689" y="243239"/>
                    <a:pt x="254644" y="122126"/>
                    <a:pt x="171643" y="0"/>
                  </a:cubicBezTo>
                  <a:cubicBezTo>
                    <a:pt x="118861" y="84050"/>
                    <a:pt x="61646" y="162834"/>
                    <a:pt x="0" y="235948"/>
                  </a:cubicBezTo>
                  <a:cubicBezTo>
                    <a:pt x="65474" y="294682"/>
                    <a:pt x="133567" y="351593"/>
                    <a:pt x="207100" y="404656"/>
                  </a:cubicBezTo>
                  <a:close/>
                </a:path>
              </a:pathLst>
            </a:custGeom>
            <a:grpFill/>
            <a:ln w="20108" cap="flat">
              <a:noFill/>
              <a:prstDash val="solid"/>
              <a:miter/>
            </a:ln>
          </p:spPr>
          <p:txBody>
            <a:bodyPr rtlCol="0" anchor="ctr"/>
            <a:lstStyle/>
            <a:p>
              <a:endParaRPr lang="en-US"/>
            </a:p>
          </p:txBody>
        </p:sp>
      </p:grpSp>
    </p:spTree>
    <p:extLst>
      <p:ext uri="{BB962C8B-B14F-4D97-AF65-F5344CB8AC3E}">
        <p14:creationId xmlns:p14="http://schemas.microsoft.com/office/powerpoint/2010/main" val="124093915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NO LOGO_Title_Jan_202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6E06F4-5CC1-38B0-C996-6F3595C7B112}"/>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6" name="Slide Number Placeholder 5">
            <a:extLst>
              <a:ext uri="{FF2B5EF4-FFF2-40B4-BE49-F238E27FC236}">
                <a16:creationId xmlns:a16="http://schemas.microsoft.com/office/drawing/2014/main" id="{C9BC4795-B90A-B93F-4FA3-DD8C86B3ECC6}"/>
              </a:ext>
            </a:extLst>
          </p:cNvPr>
          <p:cNvSpPr>
            <a:spLocks noGrp="1"/>
          </p:cNvSpPr>
          <p:nvPr>
            <p:ph type="sldNum" sz="quarter" idx="13"/>
          </p:nvPr>
        </p:nvSpPr>
        <p:spPr/>
        <p:txBody>
          <a:bodyPr/>
          <a:lstStyle/>
          <a:p>
            <a:fld id="{64D2DCB6-719E-0F43-A160-E508323EF71D}" type="slidenum">
              <a:rPr lang="en-DK" smtClean="0"/>
              <a:pPr/>
              <a:t>‹#›</a:t>
            </a:fld>
            <a:endParaRPr lang="en-DK"/>
          </a:p>
        </p:txBody>
      </p:sp>
      <p:sp>
        <p:nvSpPr>
          <p:cNvPr id="3" name="Footer Placeholder 2">
            <a:extLst>
              <a:ext uri="{FF2B5EF4-FFF2-40B4-BE49-F238E27FC236}">
                <a16:creationId xmlns:a16="http://schemas.microsoft.com/office/drawing/2014/main" id="{7A75C7F1-1AC8-4A09-B347-2C93EF227AB6}"/>
              </a:ext>
            </a:extLst>
          </p:cNvPr>
          <p:cNvSpPr>
            <a:spLocks noGrp="1"/>
          </p:cNvSpPr>
          <p:nvPr>
            <p:ph type="ftr" sz="quarter" idx="14"/>
          </p:nvPr>
        </p:nvSpPr>
        <p:spPr/>
        <p:txBody>
          <a:bodyPr/>
          <a:lstStyle/>
          <a:p>
            <a:endParaRPr lang="en-IE"/>
          </a:p>
        </p:txBody>
      </p:sp>
    </p:spTree>
    <p:extLst>
      <p:ext uri="{BB962C8B-B14F-4D97-AF65-F5344CB8AC3E}">
        <p14:creationId xmlns:p14="http://schemas.microsoft.com/office/powerpoint/2010/main" val="33701669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WITH LOGO_Title_Column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2" y="1267199"/>
            <a:ext cx="11306175"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Slide Number Placeholder 4">
            <a:extLst>
              <a:ext uri="{FF2B5EF4-FFF2-40B4-BE49-F238E27FC236}">
                <a16:creationId xmlns:a16="http://schemas.microsoft.com/office/drawing/2014/main" id="{4E32F52B-528A-1618-A009-FF8E934ED69A}"/>
              </a:ext>
            </a:extLst>
          </p:cNvPr>
          <p:cNvSpPr>
            <a:spLocks noGrp="1"/>
          </p:cNvSpPr>
          <p:nvPr>
            <p:ph type="sldNum" sz="quarter" idx="11"/>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51A346E4-586C-FDA7-F7A9-B03313E68237}"/>
              </a:ext>
            </a:extLst>
          </p:cNvPr>
          <p:cNvSpPr>
            <a:spLocks noGrp="1"/>
          </p:cNvSpPr>
          <p:nvPr>
            <p:ph type="ftr" sz="quarter" idx="12"/>
          </p:nvPr>
        </p:nvSpPr>
        <p:spPr/>
        <p:txBody>
          <a:bodyPr/>
          <a:lstStyle/>
          <a:p>
            <a:endParaRPr lang="en-IE"/>
          </a:p>
        </p:txBody>
      </p:sp>
    </p:spTree>
    <p:extLst>
      <p:ext uri="{BB962C8B-B14F-4D97-AF65-F5344CB8AC3E}">
        <p14:creationId xmlns:p14="http://schemas.microsoft.com/office/powerpoint/2010/main" val="957785747"/>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WITH LOGO_Column_Image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2" y="1267199"/>
            <a:ext cx="5221287" cy="4287600"/>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10" name="Picture Placeholder 8">
            <a:extLst>
              <a:ext uri="{FF2B5EF4-FFF2-40B4-BE49-F238E27FC236}">
                <a16:creationId xmlns:a16="http://schemas.microsoft.com/office/drawing/2014/main" id="{7F2681EC-1F9A-713B-DA10-49F6F15367A6}"/>
              </a:ext>
            </a:extLst>
          </p:cNvPr>
          <p:cNvSpPr>
            <a:spLocks noGrp="1"/>
          </p:cNvSpPr>
          <p:nvPr>
            <p:ph type="pic" sz="quarter" idx="10"/>
          </p:nvPr>
        </p:nvSpPr>
        <p:spPr>
          <a:xfrm>
            <a:off x="6527800" y="1268412"/>
            <a:ext cx="5221288" cy="4287600"/>
          </a:xfrm>
        </p:spPr>
        <p:txBody>
          <a:bodyPr/>
          <a:lstStyle>
            <a:lvl1pPr>
              <a:defRPr>
                <a:solidFill>
                  <a:schemeClr val="tx1"/>
                </a:solidFill>
              </a:defRPr>
            </a:lvl1pPr>
          </a:lstStyle>
          <a:p>
            <a:endParaRPr lang="en-DK"/>
          </a:p>
        </p:txBody>
      </p:sp>
      <p:sp>
        <p:nvSpPr>
          <p:cNvPr id="5" name="Slide Number Placeholder 4">
            <a:extLst>
              <a:ext uri="{FF2B5EF4-FFF2-40B4-BE49-F238E27FC236}">
                <a16:creationId xmlns:a16="http://schemas.microsoft.com/office/drawing/2014/main" id="{42CD24C7-F290-7A81-F93B-9F66C74B77F4}"/>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A1998B68-AB81-8DE3-D58F-7491235200E9}"/>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3655604930"/>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WITH LOGO_Two Column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3" y="1268412"/>
            <a:ext cx="5221288" cy="4287600"/>
          </a:xfrm>
        </p:spPr>
        <p:txBody>
          <a:bodyPr wrap="square">
            <a:noAutofit/>
          </a:bodyPr>
          <a:lstStyle>
            <a:lvl1pPr marL="0" indent="0">
              <a:buSzPct val="100000"/>
              <a:buFont typeface="Arial" panose="020B0604020202020204" pitchFamily="34" charset="0"/>
              <a:buNone/>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Content Placeholder 2">
            <a:extLst>
              <a:ext uri="{FF2B5EF4-FFF2-40B4-BE49-F238E27FC236}">
                <a16:creationId xmlns:a16="http://schemas.microsoft.com/office/drawing/2014/main" id="{11C4CE89-9402-1BF0-A9EE-FE765B4AA7BE}"/>
              </a:ext>
            </a:extLst>
          </p:cNvPr>
          <p:cNvSpPr>
            <a:spLocks noGrp="1"/>
          </p:cNvSpPr>
          <p:nvPr>
            <p:ph idx="10"/>
          </p:nvPr>
        </p:nvSpPr>
        <p:spPr>
          <a:xfrm>
            <a:off x="6527800" y="1268412"/>
            <a:ext cx="5221287"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Slide Number Placeholder 4">
            <a:extLst>
              <a:ext uri="{FF2B5EF4-FFF2-40B4-BE49-F238E27FC236}">
                <a16:creationId xmlns:a16="http://schemas.microsoft.com/office/drawing/2014/main" id="{460674A2-46FA-B5B1-882B-73E797F4D92A}"/>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12F43624-0D44-95FF-79B4-55C3E1FF29A0}"/>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332927759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81923E8-6174-3598-C5CC-56675A578803}"/>
              </a:ext>
            </a:extLst>
          </p:cNvPr>
          <p:cNvSpPr/>
          <p:nvPr userDrawn="1"/>
        </p:nvSpPr>
        <p:spPr>
          <a:xfrm>
            <a:off x="0" y="5992091"/>
            <a:ext cx="12192000" cy="202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864"/>
          </a:p>
        </p:txBody>
      </p:sp>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EF51A344-76AC-C763-7E45-1A4E1B9C4577}"/>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83486273"/>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WITH LOGO_Grey Boxe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3" y="1268413"/>
            <a:ext cx="5221288" cy="4287600"/>
          </a:xfrm>
          <a:solidFill>
            <a:schemeClr val="bg1">
              <a:lumMod val="95000"/>
            </a:schemeClr>
          </a:solidFill>
        </p:spPr>
        <p:txBody>
          <a:bodyPr wrap="square" lIns="288000" tIns="288000" rIns="288000" bIns="288000">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Content Placeholder 2">
            <a:extLst>
              <a:ext uri="{FF2B5EF4-FFF2-40B4-BE49-F238E27FC236}">
                <a16:creationId xmlns:a16="http://schemas.microsoft.com/office/drawing/2014/main" id="{11C4CE89-9402-1BF0-A9EE-FE765B4AA7BE}"/>
              </a:ext>
            </a:extLst>
          </p:cNvPr>
          <p:cNvSpPr>
            <a:spLocks noGrp="1"/>
          </p:cNvSpPr>
          <p:nvPr>
            <p:ph idx="10"/>
          </p:nvPr>
        </p:nvSpPr>
        <p:spPr>
          <a:xfrm>
            <a:off x="6527799" y="1268413"/>
            <a:ext cx="5221288" cy="4287600"/>
          </a:xfrm>
          <a:solidFill>
            <a:schemeClr val="bg1">
              <a:lumMod val="95000"/>
            </a:schemeClr>
          </a:solidFill>
        </p:spPr>
        <p:txBody>
          <a:bodyPr wrap="square" lIns="288000" tIns="288000" rIns="288000" bIns="288000">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Slide Number Placeholder 4">
            <a:extLst>
              <a:ext uri="{FF2B5EF4-FFF2-40B4-BE49-F238E27FC236}">
                <a16:creationId xmlns:a16="http://schemas.microsoft.com/office/drawing/2014/main" id="{73B646E0-13FF-08D7-72C8-7DE5F76D7820}"/>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F1388DAC-803A-A3E6-47FE-E7812FB91348}"/>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2102314143"/>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_WITH LOGO_Image, Title, Column_Jan_20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D364F-3FE9-18C1-56D4-52A88C82DF6C}"/>
              </a:ext>
            </a:extLst>
          </p:cNvPr>
          <p:cNvSpPr>
            <a:spLocks noGrp="1"/>
          </p:cNvSpPr>
          <p:nvPr>
            <p:ph type="title"/>
          </p:nvPr>
        </p:nvSpPr>
        <p:spPr>
          <a:xfrm>
            <a:off x="4507578" y="0"/>
            <a:ext cx="7240660" cy="908050"/>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4522817" y="1268412"/>
            <a:ext cx="7226272"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10" name="Picture Placeholder 9">
            <a:extLst>
              <a:ext uri="{FF2B5EF4-FFF2-40B4-BE49-F238E27FC236}">
                <a16:creationId xmlns:a16="http://schemas.microsoft.com/office/drawing/2014/main" id="{CE9113E3-0C37-B5C8-5AE8-0668E1939C02}"/>
              </a:ext>
            </a:extLst>
          </p:cNvPr>
          <p:cNvSpPr>
            <a:spLocks noGrp="1"/>
          </p:cNvSpPr>
          <p:nvPr>
            <p:ph type="pic" sz="quarter" idx="13"/>
          </p:nvPr>
        </p:nvSpPr>
        <p:spPr>
          <a:xfrm>
            <a:off x="0" y="0"/>
            <a:ext cx="4079875" cy="6750000"/>
          </a:xfrm>
        </p:spPr>
        <p:txBody>
          <a:bodyPr/>
          <a:lstStyle>
            <a:lvl1pPr>
              <a:defRPr>
                <a:solidFill>
                  <a:schemeClr val="tx1"/>
                </a:solidFill>
              </a:defRPr>
            </a:lvl1pPr>
          </a:lstStyle>
          <a:p>
            <a:endParaRPr lang="en-DK"/>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6" name="Graphic 5">
            <a:extLst>
              <a:ext uri="{FF2B5EF4-FFF2-40B4-BE49-F238E27FC236}">
                <a16:creationId xmlns:a16="http://schemas.microsoft.com/office/drawing/2014/main" id="{A4C1D2C9-2534-624C-76D6-07237F7B3A92}"/>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22816" y="1053025"/>
            <a:ext cx="540000" cy="36000"/>
          </a:xfrm>
          <a:prstGeom prst="rect">
            <a:avLst/>
          </a:prstGeom>
        </p:spPr>
      </p:pic>
    </p:spTree>
    <p:extLst>
      <p:ext uri="{BB962C8B-B14F-4D97-AF65-F5344CB8AC3E}">
        <p14:creationId xmlns:p14="http://schemas.microsoft.com/office/powerpoint/2010/main" val="331761209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WITH LOGO_Image, Title, Column_Jan_20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D364F-3FE9-18C1-56D4-52A88C82DF6C}"/>
              </a:ext>
            </a:extLst>
          </p:cNvPr>
          <p:cNvSpPr>
            <a:spLocks noGrp="1"/>
          </p:cNvSpPr>
          <p:nvPr>
            <p:ph type="title"/>
          </p:nvPr>
        </p:nvSpPr>
        <p:spPr>
          <a:xfrm>
            <a:off x="5664200" y="0"/>
            <a:ext cx="6084888" cy="908050"/>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5679439" y="1268412"/>
            <a:ext cx="6084888" cy="4287600"/>
          </a:xfrm>
        </p:spPr>
        <p:txBody>
          <a:bodyPr wrap="square">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10" name="Picture Placeholder 9">
            <a:extLst>
              <a:ext uri="{FF2B5EF4-FFF2-40B4-BE49-F238E27FC236}">
                <a16:creationId xmlns:a16="http://schemas.microsoft.com/office/drawing/2014/main" id="{CE9113E3-0C37-B5C8-5AE8-0668E1939C02}"/>
              </a:ext>
            </a:extLst>
          </p:cNvPr>
          <p:cNvSpPr>
            <a:spLocks noGrp="1"/>
          </p:cNvSpPr>
          <p:nvPr>
            <p:ph type="pic" sz="quarter" idx="13"/>
          </p:nvPr>
        </p:nvSpPr>
        <p:spPr>
          <a:xfrm>
            <a:off x="-1" y="0"/>
            <a:ext cx="5220000" cy="6750000"/>
          </a:xfrm>
        </p:spPr>
        <p:txBody>
          <a:bodyPr/>
          <a:lstStyle>
            <a:lvl1pPr>
              <a:defRPr>
                <a:solidFill>
                  <a:schemeClr val="tx1"/>
                </a:solidFill>
              </a:defRPr>
            </a:lvl1pPr>
          </a:lstStyle>
          <a:p>
            <a:endParaRPr lang="en-DK"/>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6" name="Graphic 5">
            <a:extLst>
              <a:ext uri="{FF2B5EF4-FFF2-40B4-BE49-F238E27FC236}">
                <a16:creationId xmlns:a16="http://schemas.microsoft.com/office/drawing/2014/main" id="{A4C1D2C9-2534-624C-76D6-07237F7B3A92}"/>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9438" y="1053025"/>
            <a:ext cx="540000" cy="36000"/>
          </a:xfrm>
          <a:prstGeom prst="rect">
            <a:avLst/>
          </a:prstGeom>
        </p:spPr>
      </p:pic>
    </p:spTree>
    <p:extLst>
      <p:ext uri="{BB962C8B-B14F-4D97-AF65-F5344CB8AC3E}">
        <p14:creationId xmlns:p14="http://schemas.microsoft.com/office/powerpoint/2010/main" val="247574781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WITH LOGO_Image, Icons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9E4C87EA-E577-3FF9-9AD7-F3A4904B3C64}"/>
              </a:ext>
            </a:extLst>
          </p:cNvPr>
          <p:cNvSpPr>
            <a:spLocks noGrp="1"/>
          </p:cNvSpPr>
          <p:nvPr>
            <p:ph type="pic" sz="quarter" idx="13"/>
          </p:nvPr>
        </p:nvSpPr>
        <p:spPr>
          <a:xfrm>
            <a:off x="1" y="0"/>
            <a:ext cx="4079874" cy="6750000"/>
          </a:xfrm>
        </p:spPr>
        <p:txBody>
          <a:bodyPr/>
          <a:lstStyle/>
          <a:p>
            <a:endParaRPr lang="en-DK"/>
          </a:p>
        </p:txBody>
      </p:sp>
      <p:pic>
        <p:nvPicPr>
          <p:cNvPr id="4" name="Picture 3">
            <a:extLst>
              <a:ext uri="{FF2B5EF4-FFF2-40B4-BE49-F238E27FC236}">
                <a16:creationId xmlns:a16="http://schemas.microsoft.com/office/drawing/2014/main" id="{8002D53A-6D9C-B20A-ABE0-E3B2FB875E23}"/>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8" name="Title 1">
            <a:extLst>
              <a:ext uri="{FF2B5EF4-FFF2-40B4-BE49-F238E27FC236}">
                <a16:creationId xmlns:a16="http://schemas.microsoft.com/office/drawing/2014/main" id="{664E6E52-FCF1-83FD-859C-688E8468E1EB}"/>
              </a:ext>
            </a:extLst>
          </p:cNvPr>
          <p:cNvSpPr>
            <a:spLocks noGrp="1"/>
          </p:cNvSpPr>
          <p:nvPr>
            <p:ph type="title"/>
          </p:nvPr>
        </p:nvSpPr>
        <p:spPr>
          <a:xfrm>
            <a:off x="4507578" y="0"/>
            <a:ext cx="7226761" cy="908050"/>
          </a:xfrm>
        </p:spPr>
        <p:txBody>
          <a:bodyPr anchor="b" anchorCtr="0">
            <a:noAutofit/>
          </a:bodyPr>
          <a:lstStyle>
            <a:lvl1pPr>
              <a:defRPr sz="2400" b="1">
                <a:solidFill>
                  <a:schemeClr val="accent1"/>
                </a:solidFill>
              </a:defRPr>
            </a:lvl1pPr>
          </a:lstStyle>
          <a:p>
            <a:r>
              <a:rPr lang="en-GB"/>
              <a:t>Click to edit Master title style</a:t>
            </a:r>
            <a:endParaRPr lang="en-DK"/>
          </a:p>
        </p:txBody>
      </p:sp>
      <p:sp>
        <p:nvSpPr>
          <p:cNvPr id="9" name="Content Placeholder 2">
            <a:extLst>
              <a:ext uri="{FF2B5EF4-FFF2-40B4-BE49-F238E27FC236}">
                <a16:creationId xmlns:a16="http://schemas.microsoft.com/office/drawing/2014/main" id="{13FD8282-7DE3-A5B3-DE73-38B1F7A377F3}"/>
              </a:ext>
            </a:extLst>
          </p:cNvPr>
          <p:cNvSpPr>
            <a:spLocks noGrp="1"/>
          </p:cNvSpPr>
          <p:nvPr>
            <p:ph idx="1"/>
          </p:nvPr>
        </p:nvSpPr>
        <p:spPr>
          <a:xfrm>
            <a:off x="5648200" y="2009238"/>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pic>
        <p:nvPicPr>
          <p:cNvPr id="11" name="Graphic 10">
            <a:extLst>
              <a:ext uri="{FF2B5EF4-FFF2-40B4-BE49-F238E27FC236}">
                <a16:creationId xmlns:a16="http://schemas.microsoft.com/office/drawing/2014/main" id="{8501336A-1572-FE93-D85B-EF48D83DFAF5}"/>
              </a:ext>
            </a:extLst>
          </p:cNvPr>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07578" y="1053025"/>
            <a:ext cx="540000" cy="36000"/>
          </a:xfrm>
          <a:prstGeom prst="rect">
            <a:avLst/>
          </a:prstGeom>
        </p:spPr>
      </p:pic>
      <p:sp>
        <p:nvSpPr>
          <p:cNvPr id="12" name="Content Placeholder 2">
            <a:extLst>
              <a:ext uri="{FF2B5EF4-FFF2-40B4-BE49-F238E27FC236}">
                <a16:creationId xmlns:a16="http://schemas.microsoft.com/office/drawing/2014/main" id="{47036354-7A59-7A45-DEA6-4437B95BC737}"/>
              </a:ext>
            </a:extLst>
          </p:cNvPr>
          <p:cNvSpPr>
            <a:spLocks noGrp="1"/>
          </p:cNvSpPr>
          <p:nvPr>
            <p:ph idx="19"/>
          </p:nvPr>
        </p:nvSpPr>
        <p:spPr>
          <a:xfrm>
            <a:off x="5648200" y="3151603"/>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
        <p:nvSpPr>
          <p:cNvPr id="13" name="Content Placeholder 2">
            <a:extLst>
              <a:ext uri="{FF2B5EF4-FFF2-40B4-BE49-F238E27FC236}">
                <a16:creationId xmlns:a16="http://schemas.microsoft.com/office/drawing/2014/main" id="{758460BA-0658-B11D-66E8-5013FE8DCF6E}"/>
              </a:ext>
            </a:extLst>
          </p:cNvPr>
          <p:cNvSpPr>
            <a:spLocks noGrp="1"/>
          </p:cNvSpPr>
          <p:nvPr>
            <p:ph idx="20"/>
          </p:nvPr>
        </p:nvSpPr>
        <p:spPr>
          <a:xfrm>
            <a:off x="5648200" y="4293968"/>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
        <p:nvSpPr>
          <p:cNvPr id="14" name="Content Placeholder 2">
            <a:extLst>
              <a:ext uri="{FF2B5EF4-FFF2-40B4-BE49-F238E27FC236}">
                <a16:creationId xmlns:a16="http://schemas.microsoft.com/office/drawing/2014/main" id="{47AF696A-31C4-CEC4-F531-43D7F199CCA1}"/>
              </a:ext>
            </a:extLst>
          </p:cNvPr>
          <p:cNvSpPr>
            <a:spLocks noGrp="1"/>
          </p:cNvSpPr>
          <p:nvPr>
            <p:ph idx="21"/>
          </p:nvPr>
        </p:nvSpPr>
        <p:spPr>
          <a:xfrm>
            <a:off x="5648200" y="5436334"/>
            <a:ext cx="6100888" cy="246221"/>
          </a:xfrm>
        </p:spPr>
        <p:txBody>
          <a:bodyPr wrap="square" anchor="ctr">
            <a:noAutofit/>
          </a:bodyPr>
          <a:lstStyle>
            <a:lvl1pPr marL="0" indent="0">
              <a:buNone/>
              <a:defRPr sz="1600">
                <a:solidFill>
                  <a:schemeClr val="tx1"/>
                </a:solidFill>
              </a:defRPr>
            </a:lvl1pPr>
            <a:lvl2pPr>
              <a:defRPr sz="1400">
                <a:solidFill>
                  <a:schemeClr val="tx1">
                    <a:lumMod val="65000"/>
                    <a:lumOff val="35000"/>
                  </a:schemeClr>
                </a:solidFill>
              </a:defRPr>
            </a:lvl2pPr>
            <a:lvl3pPr>
              <a:defRPr sz="1200">
                <a:solidFill>
                  <a:schemeClr val="tx1">
                    <a:lumMod val="65000"/>
                    <a:lumOff val="35000"/>
                  </a:schemeClr>
                </a:solidFill>
              </a:defRPr>
            </a:lvl3pPr>
            <a:lvl4pPr>
              <a:defRPr sz="1100">
                <a:solidFill>
                  <a:schemeClr val="tx1">
                    <a:lumMod val="65000"/>
                    <a:lumOff val="35000"/>
                  </a:schemeClr>
                </a:solidFill>
              </a:defRPr>
            </a:lvl4pPr>
            <a:lvl5pPr>
              <a:defRPr sz="1100">
                <a:solidFill>
                  <a:schemeClr val="tx1">
                    <a:lumMod val="65000"/>
                    <a:lumOff val="35000"/>
                  </a:schemeClr>
                </a:solidFill>
              </a:defRPr>
            </a:lvl5pPr>
          </a:lstStyle>
          <a:p>
            <a:pPr lvl="0"/>
            <a:r>
              <a:rPr lang="en-GB"/>
              <a:t>Click to edit Master text styles</a:t>
            </a:r>
          </a:p>
        </p:txBody>
      </p:sp>
    </p:spTree>
    <p:extLst>
      <p:ext uri="{BB962C8B-B14F-4D97-AF65-F5344CB8AC3E}">
        <p14:creationId xmlns:p14="http://schemas.microsoft.com/office/powerpoint/2010/main" val="133299497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3_WITH LOGO_Left image_Jan_2025">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98CE8-AFD6-80F7-BBE5-39DEEC261450}"/>
              </a:ext>
            </a:extLst>
          </p:cNvPr>
          <p:cNvSpPr>
            <a:spLocks noGrp="1"/>
          </p:cNvSpPr>
          <p:nvPr>
            <p:ph type="pic" sz="quarter" idx="13"/>
          </p:nvPr>
        </p:nvSpPr>
        <p:spPr>
          <a:xfrm>
            <a:off x="1" y="0"/>
            <a:ext cx="4079874" cy="6750000"/>
          </a:xfrm>
          <a:solidFill>
            <a:schemeClr val="accent1"/>
          </a:solidFill>
        </p:spPr>
        <p:txBody>
          <a:bodyPr/>
          <a:lstStyle>
            <a:lvl1pPr algn="ctr">
              <a:defRPr sz="1100">
                <a:solidFill>
                  <a:schemeClr val="bg1"/>
                </a:solidFill>
              </a:defRPr>
            </a:lvl1pPr>
          </a:lstStyle>
          <a:p>
            <a:endParaRPr lang="en-DK"/>
          </a:p>
        </p:txBody>
      </p:sp>
      <p:sp>
        <p:nvSpPr>
          <p:cNvPr id="3" name="Content Placeholder 2">
            <a:extLst>
              <a:ext uri="{FF2B5EF4-FFF2-40B4-BE49-F238E27FC236}">
                <a16:creationId xmlns:a16="http://schemas.microsoft.com/office/drawing/2014/main" id="{AEEC2ED8-295B-3A5C-24C6-BE6C838B05F4}"/>
              </a:ext>
            </a:extLst>
          </p:cNvPr>
          <p:cNvSpPr>
            <a:spLocks noGrp="1"/>
          </p:cNvSpPr>
          <p:nvPr>
            <p:ph idx="1"/>
          </p:nvPr>
        </p:nvSpPr>
        <p:spPr>
          <a:xfrm>
            <a:off x="4511675" y="1285200"/>
            <a:ext cx="7236873" cy="4287600"/>
          </a:xfrm>
        </p:spPr>
        <p:txBody>
          <a:bodyPr wrap="square" anchor="ct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2" name="Title 1">
            <a:extLst>
              <a:ext uri="{FF2B5EF4-FFF2-40B4-BE49-F238E27FC236}">
                <a16:creationId xmlns:a16="http://schemas.microsoft.com/office/drawing/2014/main" id="{7EDD364F-3FE9-18C1-56D4-52A88C82DF6C}"/>
              </a:ext>
            </a:extLst>
          </p:cNvPr>
          <p:cNvSpPr>
            <a:spLocks noGrp="1"/>
          </p:cNvSpPr>
          <p:nvPr>
            <p:ph type="title"/>
          </p:nvPr>
        </p:nvSpPr>
        <p:spPr>
          <a:xfrm>
            <a:off x="442913" y="1285200"/>
            <a:ext cx="3205162" cy="4287600"/>
          </a:xfrm>
        </p:spPr>
        <p:txBody>
          <a:bodyPr lIns="0" tIns="0" rIns="0" bIns="0" anchor="ctr" anchorCtr="0">
            <a:noAutofit/>
          </a:bodyPr>
          <a:lstStyle>
            <a:lvl1pPr algn="l">
              <a:defRPr sz="2800" b="1">
                <a:solidFill>
                  <a:schemeClr val="bg2"/>
                </a:solidFill>
              </a:defRPr>
            </a:lvl1pPr>
          </a:lstStyle>
          <a:p>
            <a:r>
              <a:rPr lang="en-GB"/>
              <a:t>Click to edit Master title style</a:t>
            </a:r>
            <a:endParaRPr lang="en-DK"/>
          </a:p>
        </p:txBody>
      </p:sp>
      <p:pic>
        <p:nvPicPr>
          <p:cNvPr id="4" name="Picture 3">
            <a:extLst>
              <a:ext uri="{FF2B5EF4-FFF2-40B4-BE49-F238E27FC236}">
                <a16:creationId xmlns:a16="http://schemas.microsoft.com/office/drawing/2014/main" id="{1C3A6C96-FEB0-8910-4086-6A6541454535}"/>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Tree>
    <p:extLst>
      <p:ext uri="{BB962C8B-B14F-4D97-AF65-F5344CB8AC3E}">
        <p14:creationId xmlns:p14="http://schemas.microsoft.com/office/powerpoint/2010/main" val="100494942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WITH LOGO_White Quote_Jan_2025">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EC2ED8-295B-3A5C-24C6-BE6C838B05F4}"/>
              </a:ext>
            </a:extLst>
          </p:cNvPr>
          <p:cNvSpPr>
            <a:spLocks noGrp="1" noRot="1" noMove="1" noResize="1" noEditPoints="1" noAdjustHandles="1" noChangeArrowheads="1" noChangeShapeType="1"/>
          </p:cNvSpPr>
          <p:nvPr>
            <p:ph idx="1"/>
          </p:nvPr>
        </p:nvSpPr>
        <p:spPr>
          <a:xfrm>
            <a:off x="2027238" y="1268413"/>
            <a:ext cx="8137525" cy="3509883"/>
          </a:xfrm>
        </p:spPr>
        <p:txBody>
          <a:bodyPr>
            <a:noAutofit/>
          </a:bodyPr>
          <a:lstStyle>
            <a:lvl1pPr marL="0" indent="0">
              <a:buNone/>
              <a:defRPr sz="3800" b="1">
                <a:solidFill>
                  <a:schemeClr val="accent1"/>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sp>
        <p:nvSpPr>
          <p:cNvPr id="11" name="Content Placeholder 2">
            <a:extLst>
              <a:ext uri="{FF2B5EF4-FFF2-40B4-BE49-F238E27FC236}">
                <a16:creationId xmlns:a16="http://schemas.microsoft.com/office/drawing/2014/main" id="{21561EBE-5C5B-5478-448B-FC14238C7596}"/>
              </a:ext>
            </a:extLst>
          </p:cNvPr>
          <p:cNvSpPr>
            <a:spLocks noGrp="1" noRot="1" noMove="1" noResize="1" noEditPoints="1" noAdjustHandles="1" noChangeArrowheads="1" noChangeShapeType="1"/>
          </p:cNvSpPr>
          <p:nvPr>
            <p:ph idx="10"/>
          </p:nvPr>
        </p:nvSpPr>
        <p:spPr>
          <a:xfrm>
            <a:off x="2027238" y="4877634"/>
            <a:ext cx="8137525" cy="1440000"/>
          </a:xfrm>
        </p:spPr>
        <p:txBody>
          <a:bodyPr>
            <a:noAutofit/>
          </a:bodyPr>
          <a:lstStyle>
            <a:lvl1pPr marL="0" indent="0">
              <a:spcAft>
                <a:spcPts val="600"/>
              </a:spcAft>
              <a:buNone/>
              <a:defRPr sz="1600" b="1">
                <a:solidFill>
                  <a:schemeClr val="accent1"/>
                </a:solidFill>
              </a:defRPr>
            </a:lvl1pPr>
            <a:lvl2pPr>
              <a:defRPr sz="2000">
                <a:solidFill>
                  <a:schemeClr val="bg2"/>
                </a:solidFill>
              </a:defRPr>
            </a:lvl2pPr>
            <a:lvl3pPr>
              <a:defRPr sz="1800">
                <a:solidFill>
                  <a:schemeClr val="bg2"/>
                </a:solidFill>
              </a:defRPr>
            </a:lvl3pPr>
            <a:lvl4pPr>
              <a:defRPr sz="1600">
                <a:solidFill>
                  <a:schemeClr val="bg2"/>
                </a:solidFill>
              </a:defRPr>
            </a:lvl4pPr>
            <a:lvl5pPr>
              <a:defRPr sz="1600">
                <a:solidFill>
                  <a:schemeClr val="bg2"/>
                </a:solidFill>
              </a:defRPr>
            </a:lvl5pPr>
          </a:lstStyle>
          <a:p>
            <a:pPr lvl="0"/>
            <a:r>
              <a:rPr lang="en-GB"/>
              <a:t>Click to edit Master text styles</a:t>
            </a:r>
          </a:p>
        </p:txBody>
      </p:sp>
      <p:pic>
        <p:nvPicPr>
          <p:cNvPr id="2" name="Picture 1">
            <a:extLst>
              <a:ext uri="{FF2B5EF4-FFF2-40B4-BE49-F238E27FC236}">
                <a16:creationId xmlns:a16="http://schemas.microsoft.com/office/drawing/2014/main" id="{2180461D-2FFD-F649-E98A-58D56D8F9F05}"/>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TextBox 4">
            <a:extLst>
              <a:ext uri="{FF2B5EF4-FFF2-40B4-BE49-F238E27FC236}">
                <a16:creationId xmlns:a16="http://schemas.microsoft.com/office/drawing/2014/main" id="{75B29FE5-89B3-2954-5FA2-E731DF9A50FA}"/>
              </a:ext>
            </a:extLst>
          </p:cNvPr>
          <p:cNvSpPr txBox="1">
            <a:spLocks noGrp="1" noRot="1" noMove="1" noResize="1" noEditPoints="1" noAdjustHandles="1" noChangeArrowheads="1" noChangeShapeType="1"/>
          </p:cNvSpPr>
          <p:nvPr userDrawn="1"/>
        </p:nvSpPr>
        <p:spPr>
          <a:xfrm>
            <a:off x="728279" y="766733"/>
            <a:ext cx="1991075" cy="2662267"/>
          </a:xfrm>
          <a:prstGeom prst="rect">
            <a:avLst/>
          </a:prstGeom>
          <a:noFill/>
        </p:spPr>
        <p:txBody>
          <a:bodyPr wrap="square" rtlCol="0">
            <a:spAutoFit/>
          </a:bodyPr>
          <a:lstStyle/>
          <a:p>
            <a:r>
              <a:rPr lang="en-DK" sz="16700" b="1">
                <a:solidFill>
                  <a:schemeClr val="accent1"/>
                </a:solidFill>
              </a:rPr>
              <a:t>“</a:t>
            </a:r>
          </a:p>
        </p:txBody>
      </p:sp>
      <p:sp>
        <p:nvSpPr>
          <p:cNvPr id="6" name="Slide Number Placeholder 5">
            <a:extLst>
              <a:ext uri="{FF2B5EF4-FFF2-40B4-BE49-F238E27FC236}">
                <a16:creationId xmlns:a16="http://schemas.microsoft.com/office/drawing/2014/main" id="{F1C1C89F-3949-D3AF-5B68-1F1723D5A061}"/>
              </a:ext>
            </a:extLst>
          </p:cNvPr>
          <p:cNvSpPr>
            <a:spLocks noGrp="1"/>
          </p:cNvSpPr>
          <p:nvPr>
            <p:ph type="sldNum" sz="quarter" idx="12"/>
          </p:nvPr>
        </p:nvSpPr>
        <p:spPr/>
        <p:txBody>
          <a:bodyPr/>
          <a:lstStyle/>
          <a:p>
            <a:fld id="{64D2DCB6-719E-0F43-A160-E508323EF71D}" type="slidenum">
              <a:rPr lang="en-DK" smtClean="0"/>
              <a:pPr/>
              <a:t>‹#›</a:t>
            </a:fld>
            <a:endParaRPr lang="en-DK"/>
          </a:p>
        </p:txBody>
      </p:sp>
      <p:sp>
        <p:nvSpPr>
          <p:cNvPr id="7" name="Footer Placeholder 6">
            <a:extLst>
              <a:ext uri="{FF2B5EF4-FFF2-40B4-BE49-F238E27FC236}">
                <a16:creationId xmlns:a16="http://schemas.microsoft.com/office/drawing/2014/main" id="{1882AC9C-113D-7686-90D9-A685A6D61FDA}"/>
              </a:ext>
            </a:extLst>
          </p:cNvPr>
          <p:cNvSpPr>
            <a:spLocks noGrp="1"/>
          </p:cNvSpPr>
          <p:nvPr>
            <p:ph type="ftr" sz="quarter" idx="13"/>
          </p:nvPr>
        </p:nvSpPr>
        <p:spPr/>
        <p:txBody>
          <a:bodyPr/>
          <a:lstStyle/>
          <a:p>
            <a:endParaRPr lang="en-IE"/>
          </a:p>
        </p:txBody>
      </p:sp>
    </p:spTree>
    <p:extLst>
      <p:ext uri="{BB962C8B-B14F-4D97-AF65-F5344CB8AC3E}">
        <p14:creationId xmlns:p14="http://schemas.microsoft.com/office/powerpoint/2010/main" val="174442476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WITH LOGO_White List_Jan_2025">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221E3E-4765-3F60-E686-7B9F3CB3C1EA}"/>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4" name="Text Placeholder 19">
            <a:extLst>
              <a:ext uri="{FF2B5EF4-FFF2-40B4-BE49-F238E27FC236}">
                <a16:creationId xmlns:a16="http://schemas.microsoft.com/office/drawing/2014/main" id="{55633E9F-1E8D-2F0F-0F8F-3711767028EA}"/>
              </a:ext>
            </a:extLst>
          </p:cNvPr>
          <p:cNvSpPr>
            <a:spLocks noGrp="1" noRot="1" noMove="1" noResize="1" noEditPoints="1" noAdjustHandles="1" noChangeArrowheads="1" noChangeShapeType="1"/>
          </p:cNvSpPr>
          <p:nvPr>
            <p:ph type="body" sz="quarter" idx="10"/>
          </p:nvPr>
        </p:nvSpPr>
        <p:spPr>
          <a:xfrm>
            <a:off x="2027238" y="703873"/>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5" name="Text Placeholder 19">
            <a:extLst>
              <a:ext uri="{FF2B5EF4-FFF2-40B4-BE49-F238E27FC236}">
                <a16:creationId xmlns:a16="http://schemas.microsoft.com/office/drawing/2014/main" id="{97254926-FAC0-39B5-22A1-F04DE7EA76A4}"/>
              </a:ext>
            </a:extLst>
          </p:cNvPr>
          <p:cNvSpPr>
            <a:spLocks noGrp="1" noRot="1" noMove="1" noResize="1" noEditPoints="1" noAdjustHandles="1" noChangeArrowheads="1" noChangeShapeType="1"/>
          </p:cNvSpPr>
          <p:nvPr>
            <p:ph type="body" sz="quarter" idx="11"/>
          </p:nvPr>
        </p:nvSpPr>
        <p:spPr>
          <a:xfrm>
            <a:off x="2027238" y="1771840"/>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6" name="Text Placeholder 19">
            <a:extLst>
              <a:ext uri="{FF2B5EF4-FFF2-40B4-BE49-F238E27FC236}">
                <a16:creationId xmlns:a16="http://schemas.microsoft.com/office/drawing/2014/main" id="{09E37B7D-166F-B03C-A5D9-6B95F86A3A02}"/>
              </a:ext>
            </a:extLst>
          </p:cNvPr>
          <p:cNvSpPr>
            <a:spLocks noGrp="1" noRot="1" noMove="1" noResize="1" noEditPoints="1" noAdjustHandles="1" noChangeArrowheads="1" noChangeShapeType="1"/>
          </p:cNvSpPr>
          <p:nvPr>
            <p:ph type="body" sz="quarter" idx="12"/>
          </p:nvPr>
        </p:nvSpPr>
        <p:spPr>
          <a:xfrm>
            <a:off x="2027238" y="2839807"/>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7" name="Text Placeholder 19">
            <a:extLst>
              <a:ext uri="{FF2B5EF4-FFF2-40B4-BE49-F238E27FC236}">
                <a16:creationId xmlns:a16="http://schemas.microsoft.com/office/drawing/2014/main" id="{4B9CBE0B-5E84-10EC-F459-3BB91D3C32B9}"/>
              </a:ext>
            </a:extLst>
          </p:cNvPr>
          <p:cNvSpPr>
            <a:spLocks noGrp="1" noRot="1" noMove="1" noResize="1" noEditPoints="1" noAdjustHandles="1" noChangeArrowheads="1" noChangeShapeType="1"/>
          </p:cNvSpPr>
          <p:nvPr>
            <p:ph type="body" sz="quarter" idx="13"/>
          </p:nvPr>
        </p:nvSpPr>
        <p:spPr>
          <a:xfrm>
            <a:off x="2027238" y="3907774"/>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8" name="Text Placeholder 19">
            <a:extLst>
              <a:ext uri="{FF2B5EF4-FFF2-40B4-BE49-F238E27FC236}">
                <a16:creationId xmlns:a16="http://schemas.microsoft.com/office/drawing/2014/main" id="{0CF6DD01-6002-142D-1ECD-677CBF2CA735}"/>
              </a:ext>
            </a:extLst>
          </p:cNvPr>
          <p:cNvSpPr>
            <a:spLocks noGrp="1" noRot="1" noMove="1" noResize="1" noEditPoints="1" noAdjustHandles="1" noChangeArrowheads="1" noChangeShapeType="1"/>
          </p:cNvSpPr>
          <p:nvPr>
            <p:ph type="body" sz="quarter" idx="14"/>
          </p:nvPr>
        </p:nvSpPr>
        <p:spPr>
          <a:xfrm>
            <a:off x="2027238" y="4975741"/>
            <a:ext cx="9721850" cy="1070387"/>
          </a:xfrm>
        </p:spPr>
        <p:txBody>
          <a:bodyPr anchor="ctr">
            <a:noAutofit/>
          </a:bodyPr>
          <a:lstStyle>
            <a:lvl1pPr marL="0" indent="0" algn="l" defTabSz="914400" rtl="0" eaLnBrk="1" latinLnBrk="0" hangingPunct="1">
              <a:lnSpc>
                <a:spcPct val="100000"/>
              </a:lnSpc>
              <a:spcBef>
                <a:spcPct val="0"/>
              </a:spcBef>
              <a:buNone/>
              <a:defRPr lang="en-GB" sz="2400" b="1" kern="1200" dirty="0" smtClean="0">
                <a:solidFill>
                  <a:schemeClr val="accent1"/>
                </a:solidFill>
                <a:latin typeface="+mj-lt"/>
                <a:ea typeface="+mj-ea"/>
                <a:cs typeface="+mj-cs"/>
              </a:defRPr>
            </a:lvl1pPr>
            <a:lvl2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2pPr>
            <a:lvl3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3pPr>
            <a:lvl4pPr marL="0" indent="0" algn="l" defTabSz="914400" rtl="0" eaLnBrk="1" latinLnBrk="0" hangingPunct="1">
              <a:lnSpc>
                <a:spcPct val="100000"/>
              </a:lnSpc>
              <a:spcBef>
                <a:spcPct val="0"/>
              </a:spcBef>
              <a:buNone/>
              <a:defRPr lang="en-GB" sz="3600" b="1" kern="1200" dirty="0" smtClean="0">
                <a:solidFill>
                  <a:schemeClr val="tx2"/>
                </a:solidFill>
                <a:latin typeface="+mj-lt"/>
                <a:ea typeface="+mj-ea"/>
                <a:cs typeface="+mj-cs"/>
              </a:defRPr>
            </a:lvl4pPr>
            <a:lvl5pPr marL="0" indent="0" algn="l" defTabSz="914400" rtl="0" eaLnBrk="1" latinLnBrk="0" hangingPunct="1">
              <a:lnSpc>
                <a:spcPct val="100000"/>
              </a:lnSpc>
              <a:spcBef>
                <a:spcPct val="0"/>
              </a:spcBef>
              <a:buNone/>
              <a:defRPr lang="en-DK" sz="3600" b="1" kern="1200" dirty="0">
                <a:solidFill>
                  <a:schemeClr val="tx2"/>
                </a:solidFill>
                <a:latin typeface="+mj-lt"/>
                <a:ea typeface="+mj-ea"/>
                <a:cs typeface="+mj-cs"/>
              </a:defRPr>
            </a:lvl5pPr>
          </a:lstStyle>
          <a:p>
            <a:pPr lvl="0"/>
            <a:r>
              <a:rPr lang="en-GB"/>
              <a:t>Click to edit Master text styles</a:t>
            </a:r>
            <a:endParaRPr lang="en-DK"/>
          </a:p>
        </p:txBody>
      </p:sp>
      <p:sp>
        <p:nvSpPr>
          <p:cNvPr id="10" name="Slide Number Placeholder 9">
            <a:extLst>
              <a:ext uri="{FF2B5EF4-FFF2-40B4-BE49-F238E27FC236}">
                <a16:creationId xmlns:a16="http://schemas.microsoft.com/office/drawing/2014/main" id="{B5018693-3B48-E4DD-00A5-4009E7CCA6D3}"/>
              </a:ext>
            </a:extLst>
          </p:cNvPr>
          <p:cNvSpPr>
            <a:spLocks noGrp="1"/>
          </p:cNvSpPr>
          <p:nvPr>
            <p:ph type="sldNum" sz="quarter" idx="16"/>
          </p:nvPr>
        </p:nvSpPr>
        <p:spPr/>
        <p:txBody>
          <a:bodyPr/>
          <a:lstStyle/>
          <a:p>
            <a:fld id="{64D2DCB6-719E-0F43-A160-E508323EF71D}" type="slidenum">
              <a:rPr lang="en-DK" smtClean="0"/>
              <a:pPr/>
              <a:t>‹#›</a:t>
            </a:fld>
            <a:endParaRPr lang="en-DK"/>
          </a:p>
        </p:txBody>
      </p:sp>
      <p:sp>
        <p:nvSpPr>
          <p:cNvPr id="9" name="Footer Placeholder 8">
            <a:extLst>
              <a:ext uri="{FF2B5EF4-FFF2-40B4-BE49-F238E27FC236}">
                <a16:creationId xmlns:a16="http://schemas.microsoft.com/office/drawing/2014/main" id="{A7F2413F-0749-A266-7C73-FEFDF5307A10}"/>
              </a:ext>
            </a:extLst>
          </p:cNvPr>
          <p:cNvSpPr>
            <a:spLocks noGrp="1"/>
          </p:cNvSpPr>
          <p:nvPr>
            <p:ph type="ftr" sz="quarter" idx="17"/>
          </p:nvPr>
        </p:nvSpPr>
        <p:spPr/>
        <p:txBody>
          <a:bodyPr/>
          <a:lstStyle/>
          <a:p>
            <a:endParaRPr lang="en-IE"/>
          </a:p>
        </p:txBody>
      </p:sp>
    </p:spTree>
    <p:extLst>
      <p:ext uri="{BB962C8B-B14F-4D97-AF65-F5344CB8AC3E}">
        <p14:creationId xmlns:p14="http://schemas.microsoft.com/office/powerpoint/2010/main" val="25985547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WITH LOGO_Three Columns_Jan_202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6E06F4-5CC1-38B0-C996-6F3595C7B112}"/>
              </a:ext>
            </a:extLst>
          </p:cNvPr>
          <p:cNvPicPr>
            <a:picLocks noGrp="1" noRo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cxnSp>
        <p:nvCxnSpPr>
          <p:cNvPr id="7" name="Straight Connector 6">
            <a:extLst>
              <a:ext uri="{FF2B5EF4-FFF2-40B4-BE49-F238E27FC236}">
                <a16:creationId xmlns:a16="http://schemas.microsoft.com/office/drawing/2014/main" id="{63BE207F-B455-41E9-9347-0925024B5092}"/>
              </a:ext>
            </a:extLst>
          </p:cNvPr>
          <p:cNvCxnSpPr>
            <a:cxnSpLocks/>
          </p:cNvCxnSpPr>
          <p:nvPr userDrawn="1"/>
        </p:nvCxnSpPr>
        <p:spPr>
          <a:xfrm>
            <a:off x="4084858" y="1365689"/>
            <a:ext cx="0" cy="447352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DFC6A22-4543-87A8-9BB5-9C85FA20FB0D}"/>
              </a:ext>
            </a:extLst>
          </p:cNvPr>
          <p:cNvCxnSpPr>
            <a:cxnSpLocks/>
          </p:cNvCxnSpPr>
          <p:nvPr userDrawn="1"/>
        </p:nvCxnSpPr>
        <p:spPr>
          <a:xfrm>
            <a:off x="8112125" y="1365689"/>
            <a:ext cx="0" cy="447352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ABB154A4-3C1E-7886-5762-5F30CC641FF8}"/>
              </a:ext>
            </a:extLst>
          </p:cNvPr>
          <p:cNvSpPr>
            <a:spLocks noGrp="1"/>
          </p:cNvSpPr>
          <p:nvPr>
            <p:ph type="title"/>
          </p:nvPr>
        </p:nvSpPr>
        <p:spPr>
          <a:xfrm>
            <a:off x="442913" y="0"/>
            <a:ext cx="11307600"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14" name="Graphic 13">
            <a:extLst>
              <a:ext uri="{FF2B5EF4-FFF2-40B4-BE49-F238E27FC236}">
                <a16:creationId xmlns:a16="http://schemas.microsoft.com/office/drawing/2014/main" id="{4F9E36C9-F952-1ECF-AAD8-C7C14FB6C6F3}"/>
              </a:ext>
            </a:extLst>
          </p:cNvPr>
          <p:cNvPicPr>
            <a:picLocks noGrp="1" noRo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913" y="1053025"/>
            <a:ext cx="540000" cy="36000"/>
          </a:xfrm>
          <a:prstGeom prst="rect">
            <a:avLst/>
          </a:prstGeom>
        </p:spPr>
      </p:pic>
      <p:sp>
        <p:nvSpPr>
          <p:cNvPr id="6" name="Slide Number Placeholder 5">
            <a:extLst>
              <a:ext uri="{FF2B5EF4-FFF2-40B4-BE49-F238E27FC236}">
                <a16:creationId xmlns:a16="http://schemas.microsoft.com/office/drawing/2014/main" id="{C9BC4795-B90A-B93F-4FA3-DD8C86B3ECC6}"/>
              </a:ext>
            </a:extLst>
          </p:cNvPr>
          <p:cNvSpPr>
            <a:spLocks noGrp="1"/>
          </p:cNvSpPr>
          <p:nvPr>
            <p:ph type="sldNum" sz="quarter" idx="13"/>
          </p:nvPr>
        </p:nvSpPr>
        <p:spPr/>
        <p:txBody>
          <a:bodyPr/>
          <a:lstStyle/>
          <a:p>
            <a:fld id="{64D2DCB6-719E-0F43-A160-E508323EF71D}" type="slidenum">
              <a:rPr lang="en-DK" smtClean="0"/>
              <a:pPr/>
              <a:t>‹#›</a:t>
            </a:fld>
            <a:endParaRPr lang="en-DK"/>
          </a:p>
        </p:txBody>
      </p:sp>
      <p:sp>
        <p:nvSpPr>
          <p:cNvPr id="23" name="Content Placeholder 2">
            <a:extLst>
              <a:ext uri="{FF2B5EF4-FFF2-40B4-BE49-F238E27FC236}">
                <a16:creationId xmlns:a16="http://schemas.microsoft.com/office/drawing/2014/main" id="{D37DE0E5-5471-7049-05F9-5E05595AFCFF}"/>
              </a:ext>
            </a:extLst>
          </p:cNvPr>
          <p:cNvSpPr>
            <a:spLocks noGrp="1"/>
          </p:cNvSpPr>
          <p:nvPr>
            <p:ph idx="14"/>
          </p:nvPr>
        </p:nvSpPr>
        <p:spPr>
          <a:xfrm>
            <a:off x="446400" y="2293795"/>
            <a:ext cx="3168000" cy="3545419"/>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24" name="Content Placeholder 2">
            <a:extLst>
              <a:ext uri="{FF2B5EF4-FFF2-40B4-BE49-F238E27FC236}">
                <a16:creationId xmlns:a16="http://schemas.microsoft.com/office/drawing/2014/main" id="{1FB21F74-F5EB-F238-A74A-5506F0D9F143}"/>
              </a:ext>
            </a:extLst>
          </p:cNvPr>
          <p:cNvSpPr>
            <a:spLocks noGrp="1"/>
          </p:cNvSpPr>
          <p:nvPr>
            <p:ph idx="15"/>
          </p:nvPr>
        </p:nvSpPr>
        <p:spPr>
          <a:xfrm>
            <a:off x="4511675" y="2293795"/>
            <a:ext cx="3168650" cy="3545419"/>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25" name="Content Placeholder 2">
            <a:extLst>
              <a:ext uri="{FF2B5EF4-FFF2-40B4-BE49-F238E27FC236}">
                <a16:creationId xmlns:a16="http://schemas.microsoft.com/office/drawing/2014/main" id="{06BBB0C9-DCDB-C9E2-9CD7-3A55AB61AED1}"/>
              </a:ext>
            </a:extLst>
          </p:cNvPr>
          <p:cNvSpPr>
            <a:spLocks noGrp="1"/>
          </p:cNvSpPr>
          <p:nvPr>
            <p:ph idx="16"/>
          </p:nvPr>
        </p:nvSpPr>
        <p:spPr>
          <a:xfrm>
            <a:off x="8577600" y="2293795"/>
            <a:ext cx="3168000" cy="3545419"/>
          </a:xfrm>
        </p:spPr>
        <p:txBody>
          <a:bodyPr>
            <a:no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3" name="Footer Placeholder 2">
            <a:extLst>
              <a:ext uri="{FF2B5EF4-FFF2-40B4-BE49-F238E27FC236}">
                <a16:creationId xmlns:a16="http://schemas.microsoft.com/office/drawing/2014/main" id="{D87A7F84-D7D6-538E-EC38-8810FC606482}"/>
              </a:ext>
            </a:extLst>
          </p:cNvPr>
          <p:cNvSpPr>
            <a:spLocks noGrp="1"/>
          </p:cNvSpPr>
          <p:nvPr>
            <p:ph type="ftr" sz="quarter" idx="17"/>
          </p:nvPr>
        </p:nvSpPr>
        <p:spPr/>
        <p:txBody>
          <a:bodyPr/>
          <a:lstStyle/>
          <a:p>
            <a:endParaRPr lang="en-IE"/>
          </a:p>
        </p:txBody>
      </p:sp>
    </p:spTree>
    <p:extLst>
      <p:ext uri="{BB962C8B-B14F-4D97-AF65-F5344CB8AC3E}">
        <p14:creationId xmlns:p14="http://schemas.microsoft.com/office/powerpoint/2010/main" val="330270880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WITH LOGO_Six Images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3" y="0"/>
            <a:ext cx="11306176"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9" name="Picture Placeholder 8">
            <a:extLst>
              <a:ext uri="{FF2B5EF4-FFF2-40B4-BE49-F238E27FC236}">
                <a16:creationId xmlns:a16="http://schemas.microsoft.com/office/drawing/2014/main" id="{015D40AE-DC36-ED0E-2121-8767D8062FFB}"/>
              </a:ext>
            </a:extLst>
          </p:cNvPr>
          <p:cNvSpPr>
            <a:spLocks noGrp="1"/>
          </p:cNvSpPr>
          <p:nvPr>
            <p:ph type="pic" sz="quarter" idx="11"/>
          </p:nvPr>
        </p:nvSpPr>
        <p:spPr>
          <a:xfrm>
            <a:off x="442913" y="1268413"/>
            <a:ext cx="3528000" cy="1620000"/>
          </a:xfrm>
        </p:spPr>
        <p:txBody>
          <a:bodyPr>
            <a:noAutofit/>
          </a:bodyPr>
          <a:lstStyle/>
          <a:p>
            <a:endParaRPr lang="en-DK"/>
          </a:p>
        </p:txBody>
      </p:sp>
      <p:sp>
        <p:nvSpPr>
          <p:cNvPr id="10" name="Picture Placeholder 8">
            <a:extLst>
              <a:ext uri="{FF2B5EF4-FFF2-40B4-BE49-F238E27FC236}">
                <a16:creationId xmlns:a16="http://schemas.microsoft.com/office/drawing/2014/main" id="{AB27D519-34F0-B9F8-C4A2-BF1B79EE1849}"/>
              </a:ext>
            </a:extLst>
          </p:cNvPr>
          <p:cNvSpPr>
            <a:spLocks noGrp="1" noRot="1" noMove="1" noResize="1" noEditPoints="1" noAdjustHandles="1" noChangeArrowheads="1" noChangeShapeType="1"/>
          </p:cNvSpPr>
          <p:nvPr>
            <p:ph type="pic" sz="quarter" idx="12"/>
          </p:nvPr>
        </p:nvSpPr>
        <p:spPr>
          <a:xfrm>
            <a:off x="4332000" y="1268413"/>
            <a:ext cx="3528000" cy="1620000"/>
          </a:xfrm>
        </p:spPr>
        <p:txBody>
          <a:bodyPr>
            <a:noAutofit/>
          </a:bodyPr>
          <a:lstStyle/>
          <a:p>
            <a:endParaRPr lang="en-DK"/>
          </a:p>
        </p:txBody>
      </p:sp>
      <p:sp>
        <p:nvSpPr>
          <p:cNvPr id="13" name="Picture Placeholder 8">
            <a:extLst>
              <a:ext uri="{FF2B5EF4-FFF2-40B4-BE49-F238E27FC236}">
                <a16:creationId xmlns:a16="http://schemas.microsoft.com/office/drawing/2014/main" id="{2B79F1DC-325C-B57B-7607-17205EF20504}"/>
              </a:ext>
            </a:extLst>
          </p:cNvPr>
          <p:cNvSpPr>
            <a:spLocks noGrp="1" noRot="1" noMove="1" noResize="1" noEditPoints="1" noAdjustHandles="1" noChangeArrowheads="1" noChangeShapeType="1"/>
          </p:cNvSpPr>
          <p:nvPr>
            <p:ph type="pic" sz="quarter" idx="13"/>
          </p:nvPr>
        </p:nvSpPr>
        <p:spPr>
          <a:xfrm>
            <a:off x="8221089" y="1268413"/>
            <a:ext cx="3528000" cy="1620000"/>
          </a:xfrm>
        </p:spPr>
        <p:txBody>
          <a:bodyPr>
            <a:noAutofit/>
          </a:bodyPr>
          <a:lstStyle/>
          <a:p>
            <a:endParaRPr lang="en-DK"/>
          </a:p>
        </p:txBody>
      </p:sp>
      <p:sp>
        <p:nvSpPr>
          <p:cNvPr id="14" name="Picture Placeholder 8">
            <a:extLst>
              <a:ext uri="{FF2B5EF4-FFF2-40B4-BE49-F238E27FC236}">
                <a16:creationId xmlns:a16="http://schemas.microsoft.com/office/drawing/2014/main" id="{5BFF5F76-538B-1FCC-3505-372495B7F24C}"/>
              </a:ext>
            </a:extLst>
          </p:cNvPr>
          <p:cNvSpPr>
            <a:spLocks noGrp="1" noRot="1" noMove="1" noResize="1" noEditPoints="1" noAdjustHandles="1" noChangeArrowheads="1" noChangeShapeType="1"/>
          </p:cNvSpPr>
          <p:nvPr>
            <p:ph type="pic" sz="quarter" idx="14"/>
          </p:nvPr>
        </p:nvSpPr>
        <p:spPr>
          <a:xfrm>
            <a:off x="442913" y="3767320"/>
            <a:ext cx="3528000" cy="1620000"/>
          </a:xfrm>
        </p:spPr>
        <p:txBody>
          <a:bodyPr>
            <a:noAutofit/>
          </a:bodyPr>
          <a:lstStyle/>
          <a:p>
            <a:endParaRPr lang="en-DK"/>
          </a:p>
        </p:txBody>
      </p:sp>
      <p:sp>
        <p:nvSpPr>
          <p:cNvPr id="15" name="Picture Placeholder 8">
            <a:extLst>
              <a:ext uri="{FF2B5EF4-FFF2-40B4-BE49-F238E27FC236}">
                <a16:creationId xmlns:a16="http://schemas.microsoft.com/office/drawing/2014/main" id="{25295BD2-B481-CDDE-D590-8A2F9CAFA239}"/>
              </a:ext>
            </a:extLst>
          </p:cNvPr>
          <p:cNvSpPr>
            <a:spLocks noGrp="1" noRot="1" noMove="1" noResize="1" noEditPoints="1" noAdjustHandles="1" noChangeArrowheads="1" noChangeShapeType="1"/>
          </p:cNvSpPr>
          <p:nvPr>
            <p:ph type="pic" sz="quarter" idx="15"/>
          </p:nvPr>
        </p:nvSpPr>
        <p:spPr>
          <a:xfrm>
            <a:off x="4332000" y="3767320"/>
            <a:ext cx="3528000" cy="1620000"/>
          </a:xfrm>
        </p:spPr>
        <p:txBody>
          <a:bodyPr>
            <a:noAutofit/>
          </a:bodyPr>
          <a:lstStyle/>
          <a:p>
            <a:endParaRPr lang="en-DK"/>
          </a:p>
        </p:txBody>
      </p:sp>
      <p:sp>
        <p:nvSpPr>
          <p:cNvPr id="16" name="Picture Placeholder 8">
            <a:extLst>
              <a:ext uri="{FF2B5EF4-FFF2-40B4-BE49-F238E27FC236}">
                <a16:creationId xmlns:a16="http://schemas.microsoft.com/office/drawing/2014/main" id="{36536F96-8E88-16C5-F564-E33CBC15659D}"/>
              </a:ext>
            </a:extLst>
          </p:cNvPr>
          <p:cNvSpPr>
            <a:spLocks noGrp="1" noRot="1" noMove="1" noResize="1" noEditPoints="1" noAdjustHandles="1" noChangeArrowheads="1" noChangeShapeType="1"/>
          </p:cNvSpPr>
          <p:nvPr>
            <p:ph type="pic" sz="quarter" idx="16"/>
          </p:nvPr>
        </p:nvSpPr>
        <p:spPr>
          <a:xfrm>
            <a:off x="8221089" y="3767320"/>
            <a:ext cx="3528000" cy="1620000"/>
          </a:xfrm>
        </p:spPr>
        <p:txBody>
          <a:bodyPr>
            <a:noAutofit/>
          </a:bodyPr>
          <a:lstStyle/>
          <a:p>
            <a:endParaRPr lang="en-DK"/>
          </a:p>
        </p:txBody>
      </p:sp>
      <p:sp>
        <p:nvSpPr>
          <p:cNvPr id="18" name="Text Placeholder 17">
            <a:extLst>
              <a:ext uri="{FF2B5EF4-FFF2-40B4-BE49-F238E27FC236}">
                <a16:creationId xmlns:a16="http://schemas.microsoft.com/office/drawing/2014/main" id="{4EDCD53A-F8B2-9435-3663-00EBFCCE5640}"/>
              </a:ext>
            </a:extLst>
          </p:cNvPr>
          <p:cNvSpPr>
            <a:spLocks noGrp="1" noRot="1" noMove="1" noResize="1" noEditPoints="1" noAdjustHandles="1" noChangeArrowheads="1" noChangeShapeType="1"/>
          </p:cNvSpPr>
          <p:nvPr>
            <p:ph type="body" sz="quarter" idx="17"/>
          </p:nvPr>
        </p:nvSpPr>
        <p:spPr>
          <a:xfrm>
            <a:off x="442913"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19" name="Text Placeholder 17">
            <a:extLst>
              <a:ext uri="{FF2B5EF4-FFF2-40B4-BE49-F238E27FC236}">
                <a16:creationId xmlns:a16="http://schemas.microsoft.com/office/drawing/2014/main" id="{4350FA8E-F072-C4E3-5AB6-AB8553BFA51C}"/>
              </a:ext>
            </a:extLst>
          </p:cNvPr>
          <p:cNvSpPr>
            <a:spLocks noGrp="1" noRot="1" noMove="1" noResize="1" noEditPoints="1" noAdjustHandles="1" noChangeArrowheads="1" noChangeShapeType="1"/>
          </p:cNvSpPr>
          <p:nvPr>
            <p:ph type="body" sz="quarter" idx="18"/>
          </p:nvPr>
        </p:nvSpPr>
        <p:spPr>
          <a:xfrm>
            <a:off x="4332000"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0" name="Text Placeholder 17">
            <a:extLst>
              <a:ext uri="{FF2B5EF4-FFF2-40B4-BE49-F238E27FC236}">
                <a16:creationId xmlns:a16="http://schemas.microsoft.com/office/drawing/2014/main" id="{C787A05E-7A29-06A0-2CC8-14EABA4B6126}"/>
              </a:ext>
            </a:extLst>
          </p:cNvPr>
          <p:cNvSpPr>
            <a:spLocks noGrp="1" noRot="1" noMove="1" noResize="1" noEditPoints="1" noAdjustHandles="1" noChangeArrowheads="1" noChangeShapeType="1"/>
          </p:cNvSpPr>
          <p:nvPr>
            <p:ph type="body" sz="quarter" idx="19"/>
          </p:nvPr>
        </p:nvSpPr>
        <p:spPr>
          <a:xfrm>
            <a:off x="8221089" y="2883073"/>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1" name="Text Placeholder 17">
            <a:extLst>
              <a:ext uri="{FF2B5EF4-FFF2-40B4-BE49-F238E27FC236}">
                <a16:creationId xmlns:a16="http://schemas.microsoft.com/office/drawing/2014/main" id="{A3268353-E759-E669-1ECD-D8549F9C410D}"/>
              </a:ext>
            </a:extLst>
          </p:cNvPr>
          <p:cNvSpPr>
            <a:spLocks noGrp="1" noRot="1" noMove="1" noResize="1" noEditPoints="1" noAdjustHandles="1" noChangeArrowheads="1" noChangeShapeType="1"/>
          </p:cNvSpPr>
          <p:nvPr>
            <p:ph type="body" sz="quarter" idx="20"/>
          </p:nvPr>
        </p:nvSpPr>
        <p:spPr>
          <a:xfrm>
            <a:off x="442913"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2" name="Text Placeholder 17">
            <a:extLst>
              <a:ext uri="{FF2B5EF4-FFF2-40B4-BE49-F238E27FC236}">
                <a16:creationId xmlns:a16="http://schemas.microsoft.com/office/drawing/2014/main" id="{4A946D09-490F-934A-6F13-D49C32E75D0E}"/>
              </a:ext>
            </a:extLst>
          </p:cNvPr>
          <p:cNvSpPr>
            <a:spLocks noGrp="1" noRot="1" noMove="1" noResize="1" noEditPoints="1" noAdjustHandles="1" noChangeArrowheads="1" noChangeShapeType="1"/>
          </p:cNvSpPr>
          <p:nvPr>
            <p:ph type="body" sz="quarter" idx="21"/>
          </p:nvPr>
        </p:nvSpPr>
        <p:spPr>
          <a:xfrm>
            <a:off x="4332000"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23" name="Text Placeholder 17">
            <a:extLst>
              <a:ext uri="{FF2B5EF4-FFF2-40B4-BE49-F238E27FC236}">
                <a16:creationId xmlns:a16="http://schemas.microsoft.com/office/drawing/2014/main" id="{2401C564-B48E-25CA-2395-9D3746E5FBED}"/>
              </a:ext>
            </a:extLst>
          </p:cNvPr>
          <p:cNvSpPr>
            <a:spLocks noGrp="1" noRot="1" noMove="1" noResize="1" noEditPoints="1" noAdjustHandles="1" noChangeArrowheads="1" noChangeShapeType="1"/>
          </p:cNvSpPr>
          <p:nvPr>
            <p:ph type="body" sz="quarter" idx="22"/>
          </p:nvPr>
        </p:nvSpPr>
        <p:spPr>
          <a:xfrm>
            <a:off x="8221089" y="5377577"/>
            <a:ext cx="3528000" cy="537034"/>
          </a:xfrm>
          <a:solidFill>
            <a:schemeClr val="accent1"/>
          </a:solidFill>
        </p:spPr>
        <p:txBody>
          <a:bodyPr lIns="144000" tIns="144000" rIns="144000" bIns="144000">
            <a:noAutofit/>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endParaRPr lang="en-DK"/>
          </a:p>
        </p:txBody>
      </p:sp>
      <p:sp>
        <p:nvSpPr>
          <p:cNvPr id="5" name="Slide Number Placeholder 4">
            <a:extLst>
              <a:ext uri="{FF2B5EF4-FFF2-40B4-BE49-F238E27FC236}">
                <a16:creationId xmlns:a16="http://schemas.microsoft.com/office/drawing/2014/main" id="{F43F00AC-198A-9AAF-46C4-87F6083081E5}"/>
              </a:ext>
            </a:extLst>
          </p:cNvPr>
          <p:cNvSpPr>
            <a:spLocks noGrp="1"/>
          </p:cNvSpPr>
          <p:nvPr>
            <p:ph type="sldNum" sz="quarter" idx="24"/>
          </p:nvPr>
        </p:nvSpPr>
        <p:spPr/>
        <p:txBody>
          <a:bodyPr/>
          <a:lstStyle/>
          <a:p>
            <a:fld id="{64D2DCB6-719E-0F43-A160-E508323EF71D}" type="slidenum">
              <a:rPr lang="en-DK" smtClean="0"/>
              <a:pPr/>
              <a:t>‹#›</a:t>
            </a:fld>
            <a:endParaRPr lang="en-DK"/>
          </a:p>
        </p:txBody>
      </p:sp>
      <p:sp>
        <p:nvSpPr>
          <p:cNvPr id="6" name="Footer Placeholder 5">
            <a:extLst>
              <a:ext uri="{FF2B5EF4-FFF2-40B4-BE49-F238E27FC236}">
                <a16:creationId xmlns:a16="http://schemas.microsoft.com/office/drawing/2014/main" id="{A6508550-63DB-D777-F67F-5EB57148B0B6}"/>
              </a:ext>
            </a:extLst>
          </p:cNvPr>
          <p:cNvSpPr>
            <a:spLocks noGrp="1"/>
          </p:cNvSpPr>
          <p:nvPr>
            <p:ph type="ftr" sz="quarter" idx="25"/>
          </p:nvPr>
        </p:nvSpPr>
        <p:spPr/>
        <p:txBody>
          <a:bodyPr/>
          <a:lstStyle/>
          <a:p>
            <a:endParaRPr lang="en-IE"/>
          </a:p>
        </p:txBody>
      </p:sp>
    </p:spTree>
    <p:extLst>
      <p:ext uri="{BB962C8B-B14F-4D97-AF65-F5344CB8AC3E}">
        <p14:creationId xmlns:p14="http://schemas.microsoft.com/office/powerpoint/2010/main" val="3061419333"/>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WITH LOGO_Title_Jan_202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17A30C6-BF6B-1A09-78E9-E491572C52E2}"/>
              </a:ext>
            </a:extLst>
          </p:cNvPr>
          <p:cNvSpPr>
            <a:spLocks noGrp="1"/>
          </p:cNvSpPr>
          <p:nvPr>
            <p:ph type="sldNum" sz="quarter" idx="10"/>
          </p:nvPr>
        </p:nvSpPr>
        <p:spPr/>
        <p:txBody>
          <a:bodyPr/>
          <a:lstStyle/>
          <a:p>
            <a:fld id="{64D2DCB6-719E-0F43-A160-E508323EF71D}" type="slidenum">
              <a:rPr lang="en-DK" smtClean="0"/>
              <a:pPr/>
              <a:t>‹#›</a:t>
            </a:fld>
            <a:endParaRPr lang="en-DK"/>
          </a:p>
        </p:txBody>
      </p:sp>
      <p:pic>
        <p:nvPicPr>
          <p:cNvPr id="5" name="Graphic 4">
            <a:extLst>
              <a:ext uri="{FF2B5EF4-FFF2-40B4-BE49-F238E27FC236}">
                <a16:creationId xmlns:a16="http://schemas.microsoft.com/office/drawing/2014/main" id="{40344043-A3FE-64DA-3EC3-0525BCFEABDC}"/>
              </a:ext>
            </a:extLst>
          </p:cNvPr>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sp>
        <p:nvSpPr>
          <p:cNvPr id="6" name="Title 1">
            <a:extLst>
              <a:ext uri="{FF2B5EF4-FFF2-40B4-BE49-F238E27FC236}">
                <a16:creationId xmlns:a16="http://schemas.microsoft.com/office/drawing/2014/main" id="{DB3F27C3-5703-D012-F89D-EDBC5190B029}"/>
              </a:ext>
            </a:extLst>
          </p:cNvPr>
          <p:cNvSpPr>
            <a:spLocks noGrp="1"/>
          </p:cNvSpPr>
          <p:nvPr>
            <p:ph type="title"/>
          </p:nvPr>
        </p:nvSpPr>
        <p:spPr>
          <a:xfrm>
            <a:off x="442913" y="0"/>
            <a:ext cx="11306176"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2" name="Picture 1">
            <a:extLst>
              <a:ext uri="{FF2B5EF4-FFF2-40B4-BE49-F238E27FC236}">
                <a16:creationId xmlns:a16="http://schemas.microsoft.com/office/drawing/2014/main" id="{4A7CC9BD-3356-53DE-3004-119BD0E3A4B9}"/>
              </a:ext>
            </a:extLst>
          </p:cNvPr>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7" name="Footer Placeholder 6">
            <a:extLst>
              <a:ext uri="{FF2B5EF4-FFF2-40B4-BE49-F238E27FC236}">
                <a16:creationId xmlns:a16="http://schemas.microsoft.com/office/drawing/2014/main" id="{2EDC2C23-D7C7-5BC7-C8AC-D68DD4286DCC}"/>
              </a:ext>
            </a:extLst>
          </p:cNvPr>
          <p:cNvSpPr>
            <a:spLocks noGrp="1"/>
          </p:cNvSpPr>
          <p:nvPr>
            <p:ph type="ftr" sz="quarter" idx="11"/>
          </p:nvPr>
        </p:nvSpPr>
        <p:spPr/>
        <p:txBody>
          <a:bodyPr/>
          <a:lstStyle/>
          <a:p>
            <a:endParaRPr lang="en-IE"/>
          </a:p>
        </p:txBody>
      </p:sp>
    </p:spTree>
    <p:extLst>
      <p:ext uri="{BB962C8B-B14F-4D97-AF65-F5344CB8AC3E}">
        <p14:creationId xmlns:p14="http://schemas.microsoft.com/office/powerpoint/2010/main" val="996497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latin typeface="Montserrat Light" charset="0"/>
              </a:defRPr>
            </a:lvl1pPr>
          </a:lstStyle>
          <a:p>
            <a:r>
              <a:rPr lang="en-US"/>
              <a:t>Click to edit Master title style</a:t>
            </a:r>
            <a:endParaRPr lang="en-US" dirty="0"/>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5" name="Picture 4" descr="A black and white logo&#10;&#10;Description automatically generated">
            <a:extLst>
              <a:ext uri="{FF2B5EF4-FFF2-40B4-BE49-F238E27FC236}">
                <a16:creationId xmlns:a16="http://schemas.microsoft.com/office/drawing/2014/main" id="{BDC1DA3C-89DA-0213-219A-73CB82160F60}"/>
              </a:ext>
            </a:extLst>
          </p:cNvPr>
          <p:cNvPicPr>
            <a:picLocks noChangeAspect="1"/>
          </p:cNvPicPr>
          <p:nvPr userDrawn="1"/>
        </p:nvPicPr>
        <p:blipFill rotWithShape="1">
          <a:blip r:embed="rId3"/>
          <a:srcRect l="7245" t="32868" r="7284" b="33925"/>
          <a:stretch/>
        </p:blipFill>
        <p:spPr>
          <a:xfrm>
            <a:off x="769681" y="588358"/>
            <a:ext cx="3973769" cy="1157920"/>
          </a:xfrm>
          <a:prstGeom prst="rect">
            <a:avLst/>
          </a:prstGeom>
        </p:spPr>
      </p:pic>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12192000" cy="5774392"/>
          </a:xfrm>
          <a:prstGeom prst="rect">
            <a:avLst/>
          </a:prstGeom>
          <a:solidFill>
            <a:schemeClr val="bg1">
              <a:lumMod val="95000"/>
            </a:schemeClr>
          </a:solidFill>
        </p:spPr>
        <p:txBody>
          <a:bodyPr lIns="121715" tIns="60856" rIns="121715" bIns="60856"/>
          <a:lstStyle>
            <a:lvl1pPr>
              <a:buNone/>
              <a:defRPr sz="19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556"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556" y="4272349"/>
            <a:ext cx="11565163" cy="287259"/>
          </a:xfrm>
          <a:prstGeom prst="rect">
            <a:avLst/>
          </a:prstGeom>
        </p:spPr>
        <p:txBody>
          <a:bodyPr lIns="0" tIns="0" rIns="0" bIns="0">
            <a:noAutofit/>
          </a:bodyPr>
          <a:lstStyle>
            <a:lvl1pPr marL="0" indent="0" algn="l">
              <a:buNone/>
              <a:defRPr sz="1900" baseline="0">
                <a:solidFill>
                  <a:schemeClr val="bg1"/>
                </a:solidFill>
              </a:defRPr>
            </a:lvl1pPr>
            <a:lvl2pPr marL="608542" indent="0" algn="ctr">
              <a:buNone/>
              <a:defRPr>
                <a:solidFill>
                  <a:schemeClr val="tx1">
                    <a:tint val="75000"/>
                  </a:schemeClr>
                </a:solidFill>
              </a:defRPr>
            </a:lvl2pPr>
            <a:lvl3pPr marL="1217078" indent="0" algn="ctr">
              <a:buNone/>
              <a:defRPr>
                <a:solidFill>
                  <a:schemeClr val="tx1">
                    <a:tint val="75000"/>
                  </a:schemeClr>
                </a:solidFill>
              </a:defRPr>
            </a:lvl3pPr>
            <a:lvl4pPr marL="1825620" indent="0" algn="ctr">
              <a:buNone/>
              <a:defRPr>
                <a:solidFill>
                  <a:schemeClr val="tx1">
                    <a:tint val="75000"/>
                  </a:schemeClr>
                </a:solidFill>
              </a:defRPr>
            </a:lvl4pPr>
            <a:lvl5pPr marL="2434158" indent="0" algn="ctr">
              <a:buNone/>
              <a:defRPr>
                <a:solidFill>
                  <a:schemeClr val="tx1">
                    <a:tint val="75000"/>
                  </a:schemeClr>
                </a:solidFill>
              </a:defRPr>
            </a:lvl5pPr>
            <a:lvl6pPr marL="3042701" indent="0" algn="ctr">
              <a:buNone/>
              <a:defRPr>
                <a:solidFill>
                  <a:schemeClr val="tx1">
                    <a:tint val="75000"/>
                  </a:schemeClr>
                </a:solidFill>
              </a:defRPr>
            </a:lvl6pPr>
            <a:lvl7pPr marL="3651238" indent="0" algn="ctr">
              <a:buNone/>
              <a:defRPr>
                <a:solidFill>
                  <a:schemeClr val="tx1">
                    <a:tint val="75000"/>
                  </a:schemeClr>
                </a:solidFill>
              </a:defRPr>
            </a:lvl7pPr>
            <a:lvl8pPr marL="4259778" indent="0" algn="ctr">
              <a:buNone/>
              <a:defRPr>
                <a:solidFill>
                  <a:schemeClr val="tx1">
                    <a:tint val="75000"/>
                  </a:schemeClr>
                </a:solidFill>
              </a:defRPr>
            </a:lvl8pPr>
            <a:lvl9pPr marL="4868314"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4" name="Footer Placeholder 4"/>
          <p:cNvSpPr>
            <a:spLocks noGrp="1"/>
          </p:cNvSpPr>
          <p:nvPr>
            <p:ph type="ftr" sz="quarter" idx="3"/>
          </p:nvPr>
        </p:nvSpPr>
        <p:spPr>
          <a:xfrm>
            <a:off x="336555" y="6476231"/>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pPr defTabSz="608542"/>
            <a:r>
              <a:rPr lang="en-US"/>
              <a:t>Confidential Property of Schneider Electric  </a:t>
            </a:r>
            <a:endParaRPr lang="en-US" dirty="0"/>
          </a:p>
        </p:txBody>
      </p:sp>
      <p:sp>
        <p:nvSpPr>
          <p:cNvPr id="21" name="Espace réservé du texte 20"/>
          <p:cNvSpPr>
            <a:spLocks noGrp="1"/>
          </p:cNvSpPr>
          <p:nvPr>
            <p:ph type="body" sz="quarter" idx="15" hasCustomPrompt="1"/>
          </p:nvPr>
        </p:nvSpPr>
        <p:spPr>
          <a:xfrm>
            <a:off x="1" y="4764860"/>
            <a:ext cx="12192000" cy="1015853"/>
          </a:xfrm>
          <a:prstGeom prst="rect">
            <a:avLst/>
          </a:prstGeom>
          <a:solidFill>
            <a:schemeClr val="tx2">
              <a:alpha val="80000"/>
            </a:schemeClr>
          </a:solidFill>
        </p:spPr>
        <p:txBody>
          <a:bodyPr lIns="121715" tIns="60856" rIns="121715" bIns="60856"/>
          <a:lstStyle>
            <a:lvl1pPr marL="237325"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1"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5" tIns="60856" rIns="121715"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9799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WITH LOGO_Blank_Jan_202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3F03DC-8A02-34E6-1ADC-AFDE30A3D73F}"/>
              </a:ext>
            </a:extLst>
          </p:cNvPr>
          <p:cNvSpPr>
            <a:spLocks noGrp="1"/>
          </p:cNvSpPr>
          <p:nvPr>
            <p:ph type="sldNum" sz="quarter" idx="11"/>
          </p:nvPr>
        </p:nvSpPr>
        <p:spPr/>
        <p:txBody>
          <a:bodyPr/>
          <a:lstStyle/>
          <a:p>
            <a:fld id="{64D2DCB6-719E-0F43-A160-E508323EF71D}" type="slidenum">
              <a:rPr lang="en-DK" smtClean="0"/>
              <a:pPr/>
              <a:t>‹#›</a:t>
            </a:fld>
            <a:endParaRPr lang="en-DK"/>
          </a:p>
        </p:txBody>
      </p:sp>
      <p:pic>
        <p:nvPicPr>
          <p:cNvPr id="4" name="Picture 3">
            <a:extLst>
              <a:ext uri="{FF2B5EF4-FFF2-40B4-BE49-F238E27FC236}">
                <a16:creationId xmlns:a16="http://schemas.microsoft.com/office/drawing/2014/main" id="{B2DD5623-8CBD-CBE5-1907-257B77C41189}"/>
              </a:ext>
            </a:extLst>
          </p:cNvPr>
          <p:cNvPicPr/>
          <p:nvPr userDrawn="1"/>
        </p:nvPicPr>
        <p:blipFill rotWithShape="1">
          <a:blip r:embed="rId2"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Footer Placeholder 4">
            <a:extLst>
              <a:ext uri="{FF2B5EF4-FFF2-40B4-BE49-F238E27FC236}">
                <a16:creationId xmlns:a16="http://schemas.microsoft.com/office/drawing/2014/main" id="{5521E226-D2FE-CC38-DA39-D8E6BE9B2C7A}"/>
              </a:ext>
            </a:extLst>
          </p:cNvPr>
          <p:cNvSpPr>
            <a:spLocks noGrp="1"/>
          </p:cNvSpPr>
          <p:nvPr>
            <p:ph type="ftr" sz="quarter" idx="12"/>
          </p:nvPr>
        </p:nvSpPr>
        <p:spPr/>
        <p:txBody>
          <a:bodyPr/>
          <a:lstStyle/>
          <a:p>
            <a:endParaRPr lang="en-IE"/>
          </a:p>
        </p:txBody>
      </p:sp>
    </p:spTree>
    <p:extLst>
      <p:ext uri="{BB962C8B-B14F-4D97-AF65-F5344CB8AC3E}">
        <p14:creationId xmlns:p14="http://schemas.microsoft.com/office/powerpoint/2010/main" val="138877031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One Column">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2" y="0"/>
            <a:ext cx="11306175" cy="889755"/>
          </a:xfrm>
        </p:spPr>
        <p:txBody>
          <a:bodyPr anchor="b" anchorCtr="0">
            <a:normAutofit/>
          </a:bodyPr>
          <a:lstStyle>
            <a:lvl1pPr>
              <a:defRPr sz="2400" b="1">
                <a:solidFill>
                  <a:schemeClr val="accent1"/>
                </a:solidFill>
              </a:defRPr>
            </a:lvl1pPr>
          </a:lstStyle>
          <a:p>
            <a:r>
              <a:rPr lang="en-GB"/>
              <a:t>Click to edit Master title style</a:t>
            </a:r>
            <a:endParaRPr lang="en-DK"/>
          </a:p>
        </p:txBody>
      </p:sp>
      <p:sp>
        <p:nvSpPr>
          <p:cNvPr id="12" name="Content Placeholder 2">
            <a:extLst>
              <a:ext uri="{FF2B5EF4-FFF2-40B4-BE49-F238E27FC236}">
                <a16:creationId xmlns:a16="http://schemas.microsoft.com/office/drawing/2014/main" id="{9FCD63F0-20B4-4503-19AD-0E2CBC33160B}"/>
              </a:ext>
            </a:extLst>
          </p:cNvPr>
          <p:cNvSpPr>
            <a:spLocks noGrp="1"/>
          </p:cNvSpPr>
          <p:nvPr>
            <p:ph idx="1"/>
          </p:nvPr>
        </p:nvSpPr>
        <p:spPr>
          <a:xfrm>
            <a:off x="442912" y="1267199"/>
            <a:ext cx="11306175" cy="4287600"/>
          </a:xfrm>
        </p:spPr>
        <p:txBody>
          <a:bodyPr wrap="square">
            <a:normAutofit/>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pic>
        <p:nvPicPr>
          <p:cNvPr id="8" name="Picture 7">
            <a:extLst>
              <a:ext uri="{FF2B5EF4-FFF2-40B4-BE49-F238E27FC236}">
                <a16:creationId xmlns:a16="http://schemas.microsoft.com/office/drawing/2014/main" id="{A7F33971-0E92-274F-A060-6BCC2DECBA8D}"/>
              </a:ext>
            </a:extLst>
          </p:cNvPr>
          <p:cNvPicPr>
            <a:picLocks noGrp="1" noRot="1" noChangeAspect="1" noMove="1" noResize="1" noEditPoints="1" noAdjustHandles="1" noChangeArrowheads="1" noChangeShapeType="1" noCrop="1"/>
          </p:cNvPicPr>
          <p:nvPr userDrawn="1"/>
        </p:nvPicPr>
        <p:blipFill>
          <a:blip r:embed="rId5" cstate="email">
            <a:extLst>
              <a:ext uri="{28A0092B-C50C-407E-A947-70E740481C1C}">
                <a14:useLocalDpi xmlns:a14="http://schemas.microsoft.com/office/drawing/2010/main"/>
              </a:ext>
            </a:extLst>
          </a:blip>
          <a:stretch>
            <a:fillRect/>
          </a:stretch>
        </p:blipFill>
        <p:spPr>
          <a:xfrm>
            <a:off x="10995337" y="6214902"/>
            <a:ext cx="972000" cy="425578"/>
          </a:xfrm>
          <a:prstGeom prst="rect">
            <a:avLst/>
          </a:prstGeom>
        </p:spPr>
      </p:pic>
      <p:sp>
        <p:nvSpPr>
          <p:cNvPr id="4" name="Footer Placeholder 3">
            <a:extLst>
              <a:ext uri="{FF2B5EF4-FFF2-40B4-BE49-F238E27FC236}">
                <a16:creationId xmlns:a16="http://schemas.microsoft.com/office/drawing/2014/main" id="{C7FB6FFE-CB67-03ED-12BD-2577EFCEFF7B}"/>
              </a:ext>
            </a:extLst>
          </p:cNvPr>
          <p:cNvSpPr>
            <a:spLocks noGrp="1"/>
          </p:cNvSpPr>
          <p:nvPr>
            <p:ph type="ftr" sz="quarter" idx="10"/>
          </p:nvPr>
        </p:nvSpPr>
        <p:spPr/>
        <p:txBody>
          <a:bodyPr/>
          <a:lstStyle/>
          <a:p>
            <a:endParaRPr lang="en-IE"/>
          </a:p>
        </p:txBody>
      </p:sp>
      <p:sp>
        <p:nvSpPr>
          <p:cNvPr id="5" name="Slide Number Placeholder 4">
            <a:extLst>
              <a:ext uri="{FF2B5EF4-FFF2-40B4-BE49-F238E27FC236}">
                <a16:creationId xmlns:a16="http://schemas.microsoft.com/office/drawing/2014/main" id="{4E32F52B-528A-1618-A009-FF8E934ED69A}"/>
              </a:ext>
            </a:extLst>
          </p:cNvPr>
          <p:cNvSpPr>
            <a:spLocks noGrp="1"/>
          </p:cNvSpPr>
          <p:nvPr>
            <p:ph type="sldNum" sz="quarter" idx="11"/>
          </p:nvPr>
        </p:nvSpPr>
        <p:spPr/>
        <p:txBody>
          <a:bodyPr/>
          <a:lstStyle/>
          <a:p>
            <a:fld id="{64D2DCB6-719E-0F43-A160-E508323EF71D}" type="slidenum">
              <a:rPr lang="en-DK" smtClean="0"/>
              <a:pPr/>
              <a:t>‹#›</a:t>
            </a:fld>
            <a:endParaRPr lang="en-DK"/>
          </a:p>
        </p:txBody>
      </p:sp>
    </p:spTree>
    <p:extLst>
      <p:ext uri="{BB962C8B-B14F-4D97-AF65-F5344CB8AC3E}">
        <p14:creationId xmlns:p14="http://schemas.microsoft.com/office/powerpoint/2010/main" val="17357150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6_CASE STUDY_Jan_202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3F7E3C0-7229-A0C8-B308-597A6B55C849}"/>
              </a:ext>
            </a:extLst>
          </p:cNvPr>
          <p:cNvSpPr>
            <a:spLocks noGrp="1"/>
          </p:cNvSpPr>
          <p:nvPr>
            <p:ph type="title"/>
          </p:nvPr>
        </p:nvSpPr>
        <p:spPr>
          <a:xfrm>
            <a:off x="442913" y="0"/>
            <a:ext cx="9331008" cy="889755"/>
          </a:xfrm>
        </p:spPr>
        <p:txBody>
          <a:bodyPr anchor="b" anchorCtr="0">
            <a:noAutofit/>
          </a:bodyPr>
          <a:lstStyle>
            <a:lvl1pPr>
              <a:defRPr sz="2400" b="1">
                <a:solidFill>
                  <a:schemeClr val="accent1"/>
                </a:solidFill>
              </a:defRPr>
            </a:lvl1pPr>
          </a:lstStyle>
          <a:p>
            <a:r>
              <a:rPr lang="en-GB"/>
              <a:t>Click to edit Master title style</a:t>
            </a:r>
            <a:endParaRPr lang="en-DK"/>
          </a:p>
        </p:txBody>
      </p:sp>
      <p:pic>
        <p:nvPicPr>
          <p:cNvPr id="3" name="Graphic 2">
            <a:extLst>
              <a:ext uri="{FF2B5EF4-FFF2-40B4-BE49-F238E27FC236}">
                <a16:creationId xmlns:a16="http://schemas.microsoft.com/office/drawing/2014/main" id="{32EBDF4B-E05A-04FD-7628-934404C137EB}"/>
              </a:ext>
            </a:extLst>
          </p:cNvPr>
          <p:cNvPicPr>
            <a:picLocks noGrp="1" noRo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913" y="1053025"/>
            <a:ext cx="540000" cy="36000"/>
          </a:xfrm>
          <a:prstGeom prst="rect">
            <a:avLst/>
          </a:prstGeom>
        </p:spPr>
      </p:pic>
      <p:pic>
        <p:nvPicPr>
          <p:cNvPr id="2" name="Picture 1">
            <a:extLst>
              <a:ext uri="{FF2B5EF4-FFF2-40B4-BE49-F238E27FC236}">
                <a16:creationId xmlns:a16="http://schemas.microsoft.com/office/drawing/2014/main" id="{119E80BD-420B-41C9-755A-9DE12A551DA5}"/>
              </a:ext>
            </a:extLst>
          </p:cNvPr>
          <p:cNvPicPr>
            <a:picLocks noGrp="1" noRo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Lst>
          </a:blip>
          <a:srcRect t="-875"/>
          <a:stretch/>
        </p:blipFill>
        <p:spPr>
          <a:xfrm>
            <a:off x="0" y="6750000"/>
            <a:ext cx="12192000" cy="108000"/>
          </a:xfrm>
          <a:prstGeom prst="rect">
            <a:avLst/>
          </a:prstGeom>
        </p:spPr>
      </p:pic>
      <p:sp>
        <p:nvSpPr>
          <p:cNvPr id="5" name="Slide Number Placeholder 4">
            <a:extLst>
              <a:ext uri="{FF2B5EF4-FFF2-40B4-BE49-F238E27FC236}">
                <a16:creationId xmlns:a16="http://schemas.microsoft.com/office/drawing/2014/main" id="{4E32F52B-528A-1618-A009-FF8E934ED69A}"/>
              </a:ext>
            </a:extLst>
          </p:cNvPr>
          <p:cNvSpPr>
            <a:spLocks noGrp="1"/>
          </p:cNvSpPr>
          <p:nvPr>
            <p:ph type="sldNum" sz="quarter" idx="11"/>
          </p:nvPr>
        </p:nvSpPr>
        <p:spPr>
          <a:xfrm>
            <a:off x="82913" y="6416676"/>
            <a:ext cx="360000" cy="238124"/>
          </a:xfrm>
        </p:spPr>
        <p:txBody>
          <a:bodyPr/>
          <a:lstStyle/>
          <a:p>
            <a:fld id="{64D2DCB6-719E-0F43-A160-E508323EF71D}" type="slidenum">
              <a:rPr lang="en-DK" smtClean="0"/>
              <a:pPr/>
              <a:t>‹#›</a:t>
            </a:fld>
            <a:endParaRPr lang="en-DK"/>
          </a:p>
        </p:txBody>
      </p:sp>
      <p:sp>
        <p:nvSpPr>
          <p:cNvPr id="6" name="Rectangle 5">
            <a:extLst>
              <a:ext uri="{FF2B5EF4-FFF2-40B4-BE49-F238E27FC236}">
                <a16:creationId xmlns:a16="http://schemas.microsoft.com/office/drawing/2014/main" id="{A56A51A3-393B-F532-B33C-94740D3F1D4D}"/>
              </a:ext>
            </a:extLst>
          </p:cNvPr>
          <p:cNvSpPr/>
          <p:nvPr userDrawn="1"/>
        </p:nvSpPr>
        <p:spPr>
          <a:xfrm>
            <a:off x="3268524" y="1703599"/>
            <a:ext cx="2661672" cy="333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Arial" panose="020B0604020202020204"/>
                <a:ea typeface="+mn-ea"/>
                <a:cs typeface="+mn-cs"/>
              </a:rPr>
              <a:t>Challenge</a:t>
            </a:r>
          </a:p>
        </p:txBody>
      </p:sp>
      <p:sp>
        <p:nvSpPr>
          <p:cNvPr id="7" name="Rectangle 6">
            <a:extLst>
              <a:ext uri="{FF2B5EF4-FFF2-40B4-BE49-F238E27FC236}">
                <a16:creationId xmlns:a16="http://schemas.microsoft.com/office/drawing/2014/main" id="{102A80C3-3C74-5988-6318-FF6F75992143}"/>
              </a:ext>
            </a:extLst>
          </p:cNvPr>
          <p:cNvSpPr/>
          <p:nvPr userDrawn="1"/>
        </p:nvSpPr>
        <p:spPr>
          <a:xfrm>
            <a:off x="6177225" y="1711748"/>
            <a:ext cx="2661672" cy="333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a:ea typeface="+mn-ea"/>
                <a:cs typeface="+mn-cs"/>
              </a:rPr>
              <a:t>Solution</a:t>
            </a:r>
          </a:p>
        </p:txBody>
      </p:sp>
      <p:sp>
        <p:nvSpPr>
          <p:cNvPr id="8" name="Rectangle 7">
            <a:extLst>
              <a:ext uri="{FF2B5EF4-FFF2-40B4-BE49-F238E27FC236}">
                <a16:creationId xmlns:a16="http://schemas.microsoft.com/office/drawing/2014/main" id="{1E6B574C-C1D8-0705-3567-5AACDF711763}"/>
              </a:ext>
            </a:extLst>
          </p:cNvPr>
          <p:cNvSpPr/>
          <p:nvPr userDrawn="1"/>
        </p:nvSpPr>
        <p:spPr>
          <a:xfrm>
            <a:off x="9085928" y="1719153"/>
            <a:ext cx="2661672" cy="333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6"/>
                </a:solidFill>
                <a:effectLst/>
                <a:uLnTx/>
                <a:uFillTx/>
                <a:latin typeface="Arial" panose="020B0604020202020204"/>
                <a:ea typeface="+mn-ea"/>
                <a:cs typeface="+mn-cs"/>
              </a:rPr>
              <a:t>Results</a:t>
            </a:r>
          </a:p>
        </p:txBody>
      </p:sp>
      <p:sp>
        <p:nvSpPr>
          <p:cNvPr id="9" name="Picture Placeholder 2">
            <a:extLst>
              <a:ext uri="{FF2B5EF4-FFF2-40B4-BE49-F238E27FC236}">
                <a16:creationId xmlns:a16="http://schemas.microsoft.com/office/drawing/2014/main" id="{E3CAB45B-AEF6-E6C2-F088-9DA819E9EECC}"/>
              </a:ext>
            </a:extLst>
          </p:cNvPr>
          <p:cNvSpPr>
            <a:spLocks noGrp="1"/>
          </p:cNvSpPr>
          <p:nvPr>
            <p:ph type="pic" sz="quarter" idx="14"/>
          </p:nvPr>
        </p:nvSpPr>
        <p:spPr>
          <a:xfrm>
            <a:off x="442912" y="2024568"/>
            <a:ext cx="2578583" cy="4379420"/>
          </a:xfrm>
          <a:prstGeom prst="rect">
            <a:avLst/>
          </a:prstGeom>
        </p:spPr>
        <p:txBody>
          <a:bodyPr/>
          <a:lstStyle>
            <a:lvl1pPr>
              <a:defRPr>
                <a:solidFill>
                  <a:schemeClr val="bg1"/>
                </a:solidFill>
              </a:defRPr>
            </a:lvl1pPr>
          </a:lstStyle>
          <a:p>
            <a:r>
              <a:rPr lang="en-US"/>
              <a:t>Click icon to add picture</a:t>
            </a:r>
          </a:p>
        </p:txBody>
      </p:sp>
      <p:sp>
        <p:nvSpPr>
          <p:cNvPr id="10" name="Text Placeholder 17">
            <a:extLst>
              <a:ext uri="{FF2B5EF4-FFF2-40B4-BE49-F238E27FC236}">
                <a16:creationId xmlns:a16="http://schemas.microsoft.com/office/drawing/2014/main" id="{53B8D711-A70F-F3DD-516E-809DDADDFA82}"/>
              </a:ext>
            </a:extLst>
          </p:cNvPr>
          <p:cNvSpPr>
            <a:spLocks noGrp="1"/>
          </p:cNvSpPr>
          <p:nvPr>
            <p:ph type="body" sz="quarter" idx="21"/>
          </p:nvPr>
        </p:nvSpPr>
        <p:spPr>
          <a:xfrm>
            <a:off x="3268525" y="2037256"/>
            <a:ext cx="2661672" cy="4379420"/>
          </a:xfrm>
          <a:solidFill>
            <a:schemeClr val="bg1">
              <a:lumMod val="95000"/>
            </a:schemeClr>
          </a:solidFill>
        </p:spPr>
        <p:txBody>
          <a:bodyPr lIns="108000" tIns="108000" rIns="108000" bIns="108000">
            <a:normAutofit/>
          </a:bodyPr>
          <a:lstStyle>
            <a:lvl1pPr marL="0" indent="0">
              <a:spcAft>
                <a:spcPts val="600"/>
              </a:spcAft>
              <a:buSzPct val="100000"/>
              <a:buFont typeface="Arial" panose="020B0604020202020204" pitchFamily="34" charset="0"/>
              <a:buNone/>
              <a:defRPr sz="1200">
                <a:solidFill>
                  <a:schemeClr val="tx1"/>
                </a:solidFill>
              </a:defRPr>
            </a:lvl1pPr>
            <a:lvl2pPr marL="212725" indent="-212725">
              <a:spcAft>
                <a:spcPts val="600"/>
              </a:spcAft>
              <a:tabLst/>
              <a:defRPr sz="1200">
                <a:solidFill>
                  <a:schemeClr val="tx1"/>
                </a:solidFill>
              </a:defRPr>
            </a:lvl2pPr>
            <a:lvl3pPr marL="406400" indent="-203200">
              <a:spcAft>
                <a:spcPts val="600"/>
              </a:spcAft>
              <a:tabLst/>
              <a:defRPr sz="1050">
                <a:solidFill>
                  <a:schemeClr val="tx1"/>
                </a:solidFill>
              </a:defRPr>
            </a:lvl3pPr>
            <a:lvl4pPr marL="628650" indent="-203200">
              <a:spcAft>
                <a:spcPts val="600"/>
              </a:spcAft>
              <a:tabLst/>
              <a:defRPr sz="1000">
                <a:solidFill>
                  <a:schemeClr val="tx1"/>
                </a:solidFill>
              </a:defRPr>
            </a:lvl4pPr>
            <a:lvl5pPr marL="852488" indent="-203200">
              <a:spcAft>
                <a:spcPts val="600"/>
              </a:spcAft>
              <a:tabLst/>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59">
            <a:extLst>
              <a:ext uri="{FF2B5EF4-FFF2-40B4-BE49-F238E27FC236}">
                <a16:creationId xmlns:a16="http://schemas.microsoft.com/office/drawing/2014/main" id="{20BA2168-4752-724B-E0CA-D33CFDA42A59}"/>
              </a:ext>
            </a:extLst>
          </p:cNvPr>
          <p:cNvSpPr>
            <a:spLocks noGrp="1"/>
          </p:cNvSpPr>
          <p:nvPr>
            <p:ph type="body" sz="quarter" idx="19"/>
          </p:nvPr>
        </p:nvSpPr>
        <p:spPr>
          <a:xfrm>
            <a:off x="443490" y="1276826"/>
            <a:ext cx="11305598" cy="215444"/>
          </a:xfrm>
          <a:prstGeom prst="rect">
            <a:avLst/>
          </a:prstGeom>
        </p:spPr>
        <p:txBody>
          <a:bodyPr wrap="square" lIns="0" tIns="0" anchor="t">
            <a:spAutoFit/>
          </a:bodyPr>
          <a:lstStyle>
            <a:lvl1pPr marL="0" indent="0">
              <a:buNone/>
              <a:defRPr kumimoji="0" lang="en-GB" sz="1400" b="0" i="0" u="none" strike="noStrike" kern="1200" cap="none" spc="0" normalizeH="0" baseline="0" dirty="0" smtClean="0">
                <a:ln>
                  <a:noFill/>
                </a:ln>
                <a:solidFill>
                  <a:schemeClr val="accent1"/>
                </a:solidFill>
                <a:effectLst/>
                <a:uLnTx/>
                <a:uFillTx/>
                <a:latin typeface="Arial" panose="020B0604020202020204" pitchFamily="34" charset="0"/>
                <a:ea typeface="+mj-ea"/>
                <a:cs typeface="Arial" panose="020B0604020202020204" pitchFamily="34" charset="0"/>
              </a:defRPr>
            </a:lvl1pPr>
          </a:lstStyle>
          <a:p>
            <a:pPr lvl="0"/>
            <a:r>
              <a:rPr lang="en-GB"/>
              <a:t>Click to edit Master text styles</a:t>
            </a:r>
          </a:p>
        </p:txBody>
      </p:sp>
      <p:sp>
        <p:nvSpPr>
          <p:cNvPr id="16" name="Text Placeholder 17">
            <a:extLst>
              <a:ext uri="{FF2B5EF4-FFF2-40B4-BE49-F238E27FC236}">
                <a16:creationId xmlns:a16="http://schemas.microsoft.com/office/drawing/2014/main" id="{0CF5E5FB-D3ED-3DB8-A5E6-66679303F390}"/>
              </a:ext>
            </a:extLst>
          </p:cNvPr>
          <p:cNvSpPr>
            <a:spLocks noGrp="1"/>
          </p:cNvSpPr>
          <p:nvPr>
            <p:ph type="body" sz="quarter" idx="22"/>
          </p:nvPr>
        </p:nvSpPr>
        <p:spPr>
          <a:xfrm>
            <a:off x="6177227" y="2037256"/>
            <a:ext cx="2661672" cy="4379420"/>
          </a:xfrm>
          <a:solidFill>
            <a:schemeClr val="bg1">
              <a:lumMod val="95000"/>
            </a:schemeClr>
          </a:solidFill>
        </p:spPr>
        <p:txBody>
          <a:bodyPr lIns="108000" tIns="108000" rIns="108000" bIns="108000">
            <a:normAutofit/>
          </a:bodyPr>
          <a:lstStyle>
            <a:lvl1pPr marL="0" indent="0">
              <a:spcAft>
                <a:spcPts val="600"/>
              </a:spcAft>
              <a:buSzPct val="100000"/>
              <a:buFont typeface="Arial" panose="020B0604020202020204" pitchFamily="34" charset="0"/>
              <a:buNone/>
              <a:defRPr sz="1200">
                <a:solidFill>
                  <a:schemeClr val="tx1"/>
                </a:solidFill>
              </a:defRPr>
            </a:lvl1pPr>
            <a:lvl2pPr marL="212725" indent="-212725">
              <a:spcAft>
                <a:spcPts val="600"/>
              </a:spcAft>
              <a:tabLst/>
              <a:defRPr sz="1200">
                <a:solidFill>
                  <a:schemeClr val="tx1"/>
                </a:solidFill>
              </a:defRPr>
            </a:lvl2pPr>
            <a:lvl3pPr marL="406400" indent="-203200">
              <a:spcAft>
                <a:spcPts val="600"/>
              </a:spcAft>
              <a:tabLst/>
              <a:defRPr sz="1050">
                <a:solidFill>
                  <a:schemeClr val="tx1"/>
                </a:solidFill>
              </a:defRPr>
            </a:lvl3pPr>
            <a:lvl4pPr marL="628650" indent="-203200">
              <a:spcAft>
                <a:spcPts val="600"/>
              </a:spcAft>
              <a:tabLst/>
              <a:defRPr sz="1000">
                <a:solidFill>
                  <a:schemeClr val="tx1"/>
                </a:solidFill>
              </a:defRPr>
            </a:lvl4pPr>
            <a:lvl5pPr marL="852488" indent="-203200">
              <a:spcAft>
                <a:spcPts val="600"/>
              </a:spcAft>
              <a:tabLst/>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7">
            <a:extLst>
              <a:ext uri="{FF2B5EF4-FFF2-40B4-BE49-F238E27FC236}">
                <a16:creationId xmlns:a16="http://schemas.microsoft.com/office/drawing/2014/main" id="{D74CB422-6A8E-C3CA-05E3-E183884CC27D}"/>
              </a:ext>
            </a:extLst>
          </p:cNvPr>
          <p:cNvSpPr>
            <a:spLocks noGrp="1"/>
          </p:cNvSpPr>
          <p:nvPr>
            <p:ph type="body" sz="quarter" idx="23"/>
          </p:nvPr>
        </p:nvSpPr>
        <p:spPr>
          <a:xfrm>
            <a:off x="9085928" y="2045404"/>
            <a:ext cx="2661672" cy="4379420"/>
          </a:xfrm>
          <a:solidFill>
            <a:schemeClr val="bg1">
              <a:lumMod val="95000"/>
            </a:schemeClr>
          </a:solidFill>
        </p:spPr>
        <p:txBody>
          <a:bodyPr lIns="108000" tIns="108000" rIns="108000" bIns="108000">
            <a:normAutofit/>
          </a:bodyPr>
          <a:lstStyle>
            <a:lvl1pPr marL="0" indent="0">
              <a:spcAft>
                <a:spcPts val="600"/>
              </a:spcAft>
              <a:buSzPct val="100000"/>
              <a:buFont typeface="Arial" panose="020B0604020202020204" pitchFamily="34" charset="0"/>
              <a:buNone/>
              <a:defRPr sz="1200">
                <a:solidFill>
                  <a:schemeClr val="tx1"/>
                </a:solidFill>
              </a:defRPr>
            </a:lvl1pPr>
            <a:lvl2pPr marL="212725" indent="-212725">
              <a:spcAft>
                <a:spcPts val="600"/>
              </a:spcAft>
              <a:tabLst/>
              <a:defRPr sz="1200">
                <a:solidFill>
                  <a:schemeClr val="tx1"/>
                </a:solidFill>
              </a:defRPr>
            </a:lvl2pPr>
            <a:lvl3pPr marL="406400" indent="-203200">
              <a:spcAft>
                <a:spcPts val="600"/>
              </a:spcAft>
              <a:tabLst/>
              <a:defRPr sz="1050">
                <a:solidFill>
                  <a:schemeClr val="tx1"/>
                </a:solidFill>
              </a:defRPr>
            </a:lvl3pPr>
            <a:lvl4pPr marL="628650" indent="-203200">
              <a:spcAft>
                <a:spcPts val="600"/>
              </a:spcAft>
              <a:tabLst/>
              <a:defRPr sz="1000">
                <a:solidFill>
                  <a:schemeClr val="tx1"/>
                </a:solidFill>
              </a:defRPr>
            </a:lvl4pPr>
            <a:lvl5pPr marL="852488" indent="-203200">
              <a:spcAft>
                <a:spcPts val="600"/>
              </a:spcAft>
              <a:tabLst/>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a:extLst>
              <a:ext uri="{FF2B5EF4-FFF2-40B4-BE49-F238E27FC236}">
                <a16:creationId xmlns:a16="http://schemas.microsoft.com/office/drawing/2014/main" id="{95C936FF-79A7-03DC-462C-C131A6977DA1}"/>
              </a:ext>
            </a:extLst>
          </p:cNvPr>
          <p:cNvSpPr>
            <a:spLocks noGrp="1"/>
          </p:cNvSpPr>
          <p:nvPr>
            <p:ph type="ftr" sz="quarter" idx="24"/>
          </p:nvPr>
        </p:nvSpPr>
        <p:spPr/>
        <p:txBody>
          <a:bodyPr/>
          <a:lstStyle/>
          <a:p>
            <a:endParaRPr lang="en-IE"/>
          </a:p>
        </p:txBody>
      </p:sp>
    </p:spTree>
    <p:extLst>
      <p:ext uri="{BB962C8B-B14F-4D97-AF65-F5344CB8AC3E}">
        <p14:creationId xmlns:p14="http://schemas.microsoft.com/office/powerpoint/2010/main" val="94642172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3"/>
            <a:ext cx="12192000" cy="3878280"/>
          </a:xfrm>
          <a:prstGeom prst="rect">
            <a:avLst/>
          </a:prstGeom>
          <a:solidFill>
            <a:schemeClr val="tx2">
              <a:alpha val="80000"/>
            </a:schemeClr>
          </a:solidFill>
        </p:spPr>
        <p:txBody>
          <a:bodyPr lIns="335443" tIns="0" rIns="0" bIns="335443" anchor="b" anchorCtr="0"/>
          <a:lstStyle>
            <a:lvl1pPr algn="l">
              <a:defRPr sz="32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1" y="3867198"/>
            <a:ext cx="12192000" cy="497417"/>
          </a:xfrm>
          <a:prstGeom prst="rect">
            <a:avLst/>
          </a:prstGeom>
          <a:solidFill>
            <a:schemeClr val="tx2"/>
          </a:solidFill>
        </p:spPr>
        <p:txBody>
          <a:bodyPr lIns="335443"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0"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137493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indent="0">
              <a:buNone/>
              <a:defRPr sz="14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1" y="2721436"/>
            <a:ext cx="12192000" cy="1156853"/>
          </a:xfrm>
          <a:prstGeom prst="rect">
            <a:avLst/>
          </a:prstGeom>
          <a:solidFill>
            <a:schemeClr val="tx2">
              <a:alpha val="80000"/>
            </a:schemeClr>
          </a:solidFill>
        </p:spPr>
        <p:txBody>
          <a:bodyPr lIns="335443" tIns="0" rIns="0" bIns="0" anchor="ctr" anchorCtr="0"/>
          <a:lstStyle>
            <a:lvl1pPr algn="l">
              <a:defRPr sz="32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1" y="3867198"/>
            <a:ext cx="12192000" cy="497417"/>
          </a:xfrm>
          <a:prstGeom prst="rect">
            <a:avLst/>
          </a:prstGeom>
          <a:solidFill>
            <a:schemeClr val="tx2"/>
          </a:solidFill>
        </p:spPr>
        <p:txBody>
          <a:bodyPr lIns="335443"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2"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187338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12192000" cy="2641744"/>
          </a:xfrm>
          <a:prstGeom prst="rect">
            <a:avLst/>
          </a:prstGeom>
          <a:solidFill>
            <a:srgbClr val="8E8F93">
              <a:alpha val="20000"/>
            </a:srgbClr>
          </a:solidFill>
        </p:spPr>
        <p:txBody>
          <a:bodyPr lIns="121719" tIns="60856" rIns="121719" bIns="60856"/>
          <a:lstStyle>
            <a:lvl1pPr marL="0" indent="0">
              <a:buNone/>
              <a:defRPr sz="14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1" y="2641767"/>
            <a:ext cx="12192000" cy="4216255"/>
          </a:xfrm>
          <a:prstGeom prst="rect">
            <a:avLst/>
          </a:prstGeom>
          <a:solidFill>
            <a:schemeClr val="tx2"/>
          </a:solidFill>
        </p:spPr>
        <p:txBody>
          <a:bodyPr lIns="335443" tIns="335443" rIns="335443" bIns="335443" anchor="t" anchorCtr="0"/>
          <a:lstStyle>
            <a:lvl1pPr algn="l">
              <a:defRPr sz="32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1" y="2144350"/>
            <a:ext cx="12192000" cy="497417"/>
          </a:xfrm>
          <a:prstGeom prst="rect">
            <a:avLst/>
          </a:prstGeom>
          <a:solidFill>
            <a:schemeClr val="tx2">
              <a:alpha val="80000"/>
            </a:schemeClr>
          </a:solidFill>
        </p:spPr>
        <p:txBody>
          <a:bodyPr lIns="335443" tIns="0" rIns="335443" bIns="0" anchor="ctr" anchorCtr="0"/>
          <a:lstStyle>
            <a:lvl1pPr marL="0" indent="0">
              <a:buNone/>
              <a:defRPr sz="16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3"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9" name="Picture 8"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6" y="6011389"/>
            <a:ext cx="2691609" cy="742115"/>
          </a:xfrm>
          <a:prstGeom prst="rect">
            <a:avLst/>
          </a:prstGeom>
        </p:spPr>
      </p:pic>
    </p:spTree>
    <p:extLst>
      <p:ext uri="{BB962C8B-B14F-4D97-AF65-F5344CB8AC3E}">
        <p14:creationId xmlns:p14="http://schemas.microsoft.com/office/powerpoint/2010/main" val="283231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2"/>
            <a:ext cx="6104468" cy="6857999"/>
          </a:xfrm>
          <a:prstGeom prst="rect">
            <a:avLst/>
          </a:prstGeom>
          <a:solidFill>
            <a:schemeClr val="accent2">
              <a:alpha val="20000"/>
            </a:schemeClr>
          </a:solidFill>
        </p:spPr>
        <p:txBody>
          <a:bodyPr vert="horz" lIns="335443" tIns="335443" rIns="335443" bIns="335443"/>
          <a:lstStyle>
            <a:lvl1pPr marL="0" indent="0">
              <a:buNone/>
              <a:defRPr sz="1400">
                <a:solidFill>
                  <a:schemeClr val="accent2">
                    <a:lumMod val="60000"/>
                    <a:lumOff val="40000"/>
                  </a:schemeClr>
                </a:solidFill>
              </a:defRPr>
            </a:lvl1pPr>
            <a:lvl2pPr marL="589549" indent="-352878">
              <a:buFont typeface="Arial"/>
              <a:buChar char="•"/>
              <a:defRPr sz="2400">
                <a:solidFill>
                  <a:schemeClr val="accent1"/>
                </a:solidFill>
              </a:defRPr>
            </a:lvl2pPr>
            <a:lvl3pPr marL="942424" indent="-304284">
              <a:buFont typeface="Lucida Grande"/>
              <a:buChar char="–"/>
              <a:defRPr sz="2100">
                <a:solidFill>
                  <a:schemeClr val="accent1"/>
                </a:solidFill>
              </a:defRPr>
            </a:lvl3pPr>
            <a:lvl4pPr marL="1299534" indent="-304284">
              <a:buFont typeface="Lucida Grande"/>
              <a:buChar char="–"/>
              <a:defRPr sz="1900">
                <a:solidFill>
                  <a:schemeClr val="accent1"/>
                </a:solidFill>
              </a:defRPr>
            </a:lvl4pPr>
            <a:lvl5pPr marL="1675657" indent="-308507" defTabSz="418388">
              <a:buFont typeface="Lucida Grande"/>
              <a:buChar char="–"/>
              <a:defRPr sz="1900">
                <a:solidFill>
                  <a:schemeClr val="accent1"/>
                </a:solidFill>
              </a:defRPr>
            </a:lvl5pPr>
          </a:lstStyle>
          <a:p>
            <a:pPr lvl="0"/>
            <a:r>
              <a:rPr lang="en-US" dirty="0"/>
              <a:t>Insert Your Content Here</a:t>
            </a:r>
          </a:p>
        </p:txBody>
      </p:sp>
      <p:sp>
        <p:nvSpPr>
          <p:cNvPr id="15" name="Rectangle 14"/>
          <p:cNvSpPr/>
          <p:nvPr userDrawn="1"/>
        </p:nvSpPr>
        <p:spPr>
          <a:xfrm rot="5400000">
            <a:off x="-414336" y="356119"/>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9" tIns="60856" rIns="121719"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2529" y="-2"/>
            <a:ext cx="6508655" cy="6858003"/>
          </a:xfrm>
          <a:prstGeom prst="rect">
            <a:avLst/>
          </a:prstGeom>
          <a:solidFill>
            <a:schemeClr val="tx2">
              <a:alpha val="80000"/>
            </a:schemeClr>
          </a:solidFill>
        </p:spPr>
        <p:txBody>
          <a:bodyPr vert="horz" lIns="335443" tIns="335443" rIns="335443" bIns="335443"/>
          <a:lstStyle>
            <a:lvl1pPr marL="0" indent="0">
              <a:buNone/>
              <a:defRPr sz="3200">
                <a:solidFill>
                  <a:schemeClr val="bg1"/>
                </a:solidFill>
              </a:defRPr>
            </a:lvl1pPr>
            <a:lvl2pPr marL="589549" indent="-352878">
              <a:buFont typeface="Arial"/>
              <a:buChar char="•"/>
              <a:defRPr sz="2700">
                <a:solidFill>
                  <a:schemeClr val="bg1"/>
                </a:solidFill>
              </a:defRPr>
            </a:lvl2pPr>
            <a:lvl3pPr marL="942424" indent="-304284">
              <a:buFont typeface="Lucida Grande"/>
              <a:buChar char="–"/>
              <a:defRPr sz="2400">
                <a:solidFill>
                  <a:schemeClr val="bg1"/>
                </a:solidFill>
              </a:defRPr>
            </a:lvl3pPr>
            <a:lvl4pPr marL="1299534" indent="-304284">
              <a:buFont typeface="Lucida Grande"/>
              <a:buChar char="–"/>
              <a:defRPr sz="2100">
                <a:solidFill>
                  <a:schemeClr val="bg1"/>
                </a:solidFill>
              </a:defRPr>
            </a:lvl4pPr>
            <a:lvl5pPr marL="1675657" indent="-308507" defTabSz="418388">
              <a:buFont typeface="Lucida Grande"/>
              <a:buChar char="–"/>
              <a:defRPr sz="2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8"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15989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4336" y="356119"/>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9" tIns="60856" rIns="121719"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hasCustomPrompt="1"/>
          </p:nvPr>
        </p:nvSpPr>
        <p:spPr>
          <a:xfrm>
            <a:off x="-42529" y="-2"/>
            <a:ext cx="6508655" cy="6858003"/>
          </a:xfrm>
          <a:prstGeom prst="rect">
            <a:avLst/>
          </a:prstGeom>
          <a:solidFill>
            <a:schemeClr val="tx2">
              <a:alpha val="80000"/>
            </a:schemeClr>
          </a:solidFill>
        </p:spPr>
        <p:txBody>
          <a:bodyPr vert="horz" lIns="335443" tIns="335443" rIns="335443" bIns="335443"/>
          <a:lstStyle>
            <a:lvl1pPr marL="0" indent="0">
              <a:buNone/>
              <a:defRPr sz="3200" baseline="0">
                <a:solidFill>
                  <a:schemeClr val="bg1"/>
                </a:solidFill>
              </a:defRPr>
            </a:lvl1pPr>
            <a:lvl2pPr marL="589549" indent="-352878">
              <a:buFont typeface="Arial"/>
              <a:buChar char="•"/>
              <a:defRPr sz="2700">
                <a:solidFill>
                  <a:schemeClr val="bg1"/>
                </a:solidFill>
              </a:defRPr>
            </a:lvl2pPr>
            <a:lvl3pPr marL="942424" indent="-304284">
              <a:buFont typeface="Lucida Grande"/>
              <a:buChar char="–"/>
              <a:defRPr sz="2400">
                <a:solidFill>
                  <a:schemeClr val="bg1"/>
                </a:solidFill>
              </a:defRPr>
            </a:lvl3pPr>
            <a:lvl4pPr marL="1299534" indent="-304284">
              <a:buFont typeface="Lucida Grande"/>
              <a:buChar char="–"/>
              <a:defRPr sz="2100">
                <a:solidFill>
                  <a:schemeClr val="bg1"/>
                </a:solidFill>
              </a:defRPr>
            </a:lvl4pPr>
            <a:lvl5pPr marL="1675657" indent="-308507" defTabSz="418388">
              <a:buFont typeface="Lucida Grande"/>
              <a:buChar char="–"/>
              <a:defRPr sz="21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8"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0" name="Rechteck 7"/>
          <p:cNvSpPr/>
          <p:nvPr userDrawn="1"/>
        </p:nvSpPr>
        <p:spPr>
          <a:xfrm>
            <a:off x="6709432"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11" name="Rechteck 8"/>
          <p:cNvSpPr/>
          <p:nvPr userDrawn="1"/>
        </p:nvSpPr>
        <p:spPr>
          <a:xfrm>
            <a:off x="7488377"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12" name="Rechteck 10"/>
          <p:cNvSpPr/>
          <p:nvPr userDrawn="1"/>
        </p:nvSpPr>
        <p:spPr>
          <a:xfrm>
            <a:off x="6705076"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13" name="Rechteck 11"/>
          <p:cNvSpPr/>
          <p:nvPr userDrawn="1"/>
        </p:nvSpPr>
        <p:spPr>
          <a:xfrm>
            <a:off x="749891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31" name="Rechteck 10"/>
          <p:cNvSpPr/>
          <p:nvPr userDrawn="1"/>
        </p:nvSpPr>
        <p:spPr>
          <a:xfrm>
            <a:off x="6705076"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32" name="Rechteck 11"/>
          <p:cNvSpPr/>
          <p:nvPr userDrawn="1"/>
        </p:nvSpPr>
        <p:spPr>
          <a:xfrm>
            <a:off x="749891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5" name="Rechteck 10"/>
          <p:cNvSpPr/>
          <p:nvPr userDrawn="1"/>
        </p:nvSpPr>
        <p:spPr>
          <a:xfrm>
            <a:off x="6705076"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46" name="Rechteck 11"/>
          <p:cNvSpPr/>
          <p:nvPr userDrawn="1"/>
        </p:nvSpPr>
        <p:spPr>
          <a:xfrm>
            <a:off x="749891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7" name="Rechteck 10"/>
          <p:cNvSpPr/>
          <p:nvPr userDrawn="1"/>
        </p:nvSpPr>
        <p:spPr>
          <a:xfrm>
            <a:off x="6705076"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48" name="Rechteck 11"/>
          <p:cNvSpPr/>
          <p:nvPr userDrawn="1"/>
        </p:nvSpPr>
        <p:spPr>
          <a:xfrm>
            <a:off x="749891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9" name="Rechteck 10"/>
          <p:cNvSpPr/>
          <p:nvPr userDrawn="1"/>
        </p:nvSpPr>
        <p:spPr>
          <a:xfrm>
            <a:off x="6705076"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0" name="Rechteck 11"/>
          <p:cNvSpPr/>
          <p:nvPr userDrawn="1"/>
        </p:nvSpPr>
        <p:spPr>
          <a:xfrm>
            <a:off x="749891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51" name="Rechteck 10"/>
          <p:cNvSpPr/>
          <p:nvPr userDrawn="1"/>
        </p:nvSpPr>
        <p:spPr>
          <a:xfrm>
            <a:off x="6705076"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2" name="Rechteck 11"/>
          <p:cNvSpPr/>
          <p:nvPr userDrawn="1"/>
        </p:nvSpPr>
        <p:spPr>
          <a:xfrm>
            <a:off x="749891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55" name="Rechteck 10"/>
          <p:cNvSpPr/>
          <p:nvPr userDrawn="1"/>
        </p:nvSpPr>
        <p:spPr>
          <a:xfrm>
            <a:off x="6705076"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6" name="Rechteck 11"/>
          <p:cNvSpPr/>
          <p:nvPr userDrawn="1"/>
        </p:nvSpPr>
        <p:spPr>
          <a:xfrm>
            <a:off x="749891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24" name="Text Placeholder 4"/>
          <p:cNvSpPr>
            <a:spLocks noGrp="1"/>
          </p:cNvSpPr>
          <p:nvPr userDrawn="1">
            <p:ph type="body" sz="quarter" idx="13" hasCustomPrompt="1"/>
          </p:nvPr>
        </p:nvSpPr>
        <p:spPr>
          <a:xfrm>
            <a:off x="6672135" y="509539"/>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6675164" y="1167673"/>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6659996" y="1880393"/>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7494039" y="1898575"/>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6656967" y="2568867"/>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7491009" y="2587043"/>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6659996" y="3227001"/>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7494039" y="3245175"/>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6663024" y="3939720"/>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7478869" y="3957903"/>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6644828" y="4649422"/>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7497067" y="4667599"/>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6647856" y="5362147"/>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7481900" y="5380323"/>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Tree>
    <p:extLst>
      <p:ext uri="{BB962C8B-B14F-4D97-AF65-F5344CB8AC3E}">
        <p14:creationId xmlns:p14="http://schemas.microsoft.com/office/powerpoint/2010/main" val="69794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4" y="7"/>
            <a:ext cx="6040969" cy="6857999"/>
          </a:xfrm>
          <a:prstGeom prst="rect">
            <a:avLst/>
          </a:prstGeom>
          <a:solidFill>
            <a:schemeClr val="accent2">
              <a:alpha val="20000"/>
            </a:schemeClr>
          </a:solidFill>
        </p:spPr>
        <p:txBody>
          <a:bodyPr vert="horz" lIns="335443" tIns="335443" rIns="335443" bIns="335443"/>
          <a:lstStyle>
            <a:lvl1pPr marL="0" indent="0">
              <a:buNone/>
              <a:defRPr sz="1400">
                <a:solidFill>
                  <a:schemeClr val="accent1"/>
                </a:solidFill>
              </a:defRPr>
            </a:lvl1pPr>
            <a:lvl2pPr marL="589549" indent="-352878">
              <a:buFont typeface="Arial"/>
              <a:buChar char="•"/>
              <a:defRPr sz="2400">
                <a:solidFill>
                  <a:schemeClr val="accent1"/>
                </a:solidFill>
              </a:defRPr>
            </a:lvl2pPr>
            <a:lvl3pPr marL="942424" indent="-304284">
              <a:buFont typeface="Lucida Grande"/>
              <a:buChar char="–"/>
              <a:defRPr sz="2100">
                <a:solidFill>
                  <a:schemeClr val="accent1"/>
                </a:solidFill>
              </a:defRPr>
            </a:lvl3pPr>
            <a:lvl4pPr marL="1299534" indent="-304284">
              <a:buFont typeface="Lucida Grande"/>
              <a:buChar char="–"/>
              <a:defRPr sz="1900">
                <a:solidFill>
                  <a:schemeClr val="accent1"/>
                </a:solidFill>
              </a:defRPr>
            </a:lvl4pPr>
            <a:lvl5pPr marL="1675657" indent="-308507" defTabSz="418388">
              <a:buFont typeface="Lucida Grande"/>
              <a:buChar char="–"/>
              <a:defRPr sz="19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552" y="1310606"/>
            <a:ext cx="4999949" cy="4558569"/>
          </a:xfrm>
          <a:prstGeom prst="rect">
            <a:avLst/>
          </a:prstGeom>
          <a:noFill/>
        </p:spPr>
        <p:txBody>
          <a:bodyPr vert="horz" wrap="square" lIns="0" tIns="0" rIns="0" bIns="0">
            <a:noAutofit/>
          </a:bodyPr>
          <a:lstStyle>
            <a:lvl1pPr marL="314843" indent="-314843">
              <a:buClr>
                <a:schemeClr val="tx2"/>
              </a:buClr>
              <a:buFont typeface="Arial" panose="020B0604020202020204" pitchFamily="34" charset="0"/>
              <a:buNone/>
              <a:defRPr sz="2400">
                <a:solidFill>
                  <a:schemeClr val="accent1"/>
                </a:solidFill>
              </a:defRPr>
            </a:lvl1pPr>
            <a:lvl2pPr marL="608563" indent="-293718">
              <a:buClr>
                <a:schemeClr val="tx2"/>
              </a:buClr>
              <a:buFont typeface="Arial" panose="020B0604020202020204" pitchFamily="34" charset="0"/>
              <a:buChar char="•"/>
              <a:defRPr sz="2100">
                <a:solidFill>
                  <a:schemeClr val="accent1"/>
                </a:solidFill>
              </a:defRPr>
            </a:lvl2pPr>
            <a:lvl3pPr marL="838886" indent="-230322">
              <a:buClr>
                <a:schemeClr val="tx2"/>
              </a:buClr>
              <a:buFont typeface="Arial" panose="020B0604020202020204" pitchFamily="34" charset="0"/>
              <a:buChar char="•"/>
              <a:defRPr sz="1900">
                <a:solidFill>
                  <a:schemeClr val="accent1"/>
                </a:solidFill>
              </a:defRPr>
            </a:lvl3pPr>
            <a:lvl4pPr marL="1069205" indent="-230322">
              <a:buClr>
                <a:schemeClr val="tx2"/>
              </a:buClr>
              <a:buFont typeface="Arial" panose="020B0604020202020204" pitchFamily="34" charset="0"/>
              <a:buChar char="•"/>
              <a:defRPr sz="1900">
                <a:solidFill>
                  <a:schemeClr val="accent1"/>
                </a:solidFill>
              </a:defRPr>
            </a:lvl4pPr>
            <a:lvl5pPr marL="1301650" indent="-232436" defTabSz="418388">
              <a:buClr>
                <a:schemeClr val="tx2"/>
              </a:buClr>
              <a:buFont typeface="Arial" panose="020B0604020202020204" pitchFamily="34" charset="0"/>
              <a:buChar char="•"/>
              <a:defRPr sz="19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336552" y="464465"/>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23" name="Rectangle 22"/>
          <p:cNvSpPr/>
          <p:nvPr userDrawn="1"/>
        </p:nvSpPr>
        <p:spPr>
          <a:xfrm rot="5400000">
            <a:off x="2473335" y="3180297"/>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9" tIns="60856" rIns="121719"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 Placeholder 3"/>
          <p:cNvSpPr>
            <a:spLocks noGrp="1"/>
          </p:cNvSpPr>
          <p:nvPr>
            <p:ph type="body" sz="quarter" idx="14" hasCustomPrompt="1"/>
          </p:nvPr>
        </p:nvSpPr>
        <p:spPr>
          <a:xfrm>
            <a:off x="5653634" y="0"/>
            <a:ext cx="994836" cy="6858000"/>
          </a:xfrm>
          <a:prstGeom prst="rect">
            <a:avLst/>
          </a:prstGeom>
          <a:solidFill>
            <a:schemeClr val="tx2">
              <a:alpha val="80000"/>
            </a:schemeClr>
          </a:solidFill>
          <a:ln>
            <a:noFill/>
          </a:ln>
        </p:spPr>
        <p:txBody>
          <a:bodyPr lIns="121719" tIns="60856" rIns="121719" bIns="60856"/>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6"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63017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98" y="2900225"/>
            <a:ext cx="11511375" cy="492443"/>
          </a:xfrm>
          <a:prstGeom prst="rect">
            <a:avLst/>
          </a:prstGeom>
        </p:spPr>
        <p:txBody>
          <a:bodyPr lIns="0" tIns="0" rIns="0" bIns="0" anchor="ctr" anchorCtr="0">
            <a:noAutofit/>
          </a:bodyPr>
          <a:lstStyle>
            <a:lvl1pPr algn="l">
              <a:defRPr sz="32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4098" y="3512677"/>
            <a:ext cx="11511375" cy="287259"/>
          </a:xfrm>
          <a:prstGeom prst="rect">
            <a:avLst/>
          </a:prstGeom>
        </p:spPr>
        <p:txBody>
          <a:bodyPr lIns="0" tIns="0" rIns="0" bIns="0" anchor="ctr" anchorCtr="0">
            <a:noAutofit/>
          </a:bodyPr>
          <a:lstStyle>
            <a:lvl1pPr marL="0" indent="0">
              <a:buNone/>
              <a:defRPr sz="19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4"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96721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74" y="3940624"/>
            <a:ext cx="11529481" cy="410369"/>
          </a:xfrm>
          <a:prstGeom prst="rect">
            <a:avLst/>
          </a:prstGeom>
        </p:spPr>
        <p:txBody>
          <a:bodyPr lIns="0" tIns="0" rIns="0" bIns="0">
            <a:noAutofit/>
          </a:bodyPr>
          <a:lstStyle>
            <a:lvl1pPr marL="0" indent="0" algn="ctr">
              <a:buNone/>
              <a:defRPr sz="2700">
                <a:solidFill>
                  <a:schemeClr val="accent2"/>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1"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marR="0" indent="0" algn="l" defTabSz="608563" rtl="0" eaLnBrk="1" fontAlgn="auto" latinLnBrk="0" hangingPunct="1">
              <a:lnSpc>
                <a:spcPct val="100000"/>
              </a:lnSpc>
              <a:spcBef>
                <a:spcPct val="20000"/>
              </a:spcBef>
              <a:spcAft>
                <a:spcPts val="0"/>
              </a:spcAft>
              <a:buClrTx/>
              <a:buSzTx/>
              <a:buFont typeface="Arial"/>
              <a:buNone/>
              <a:tabLst/>
              <a:defRPr sz="19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2" y="2284756"/>
            <a:ext cx="11529483" cy="1641475"/>
          </a:xfrm>
          <a:prstGeom prst="rect">
            <a:avLst/>
          </a:prstGeom>
        </p:spPr>
        <p:txBody>
          <a:bodyPr lIns="0" tIns="0" rIns="0" bIns="0" anchor="t">
            <a:noAutofit/>
          </a:bodyPr>
          <a:lstStyle>
            <a:lvl1pPr marL="0" indent="0" algn="ctr">
              <a:buFont typeface="Arial"/>
              <a:buNone/>
              <a:defRPr sz="53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182711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2" y="2284756"/>
            <a:ext cx="11529483" cy="1641475"/>
          </a:xfrm>
          <a:prstGeom prst="rect">
            <a:avLst/>
          </a:prstGeom>
        </p:spPr>
        <p:txBody>
          <a:bodyPr lIns="0" tIns="0" rIns="0" bIns="0" anchor="t">
            <a:no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574" y="3940624"/>
            <a:ext cx="11529481" cy="410369"/>
          </a:xfrm>
          <a:prstGeom prst="rect">
            <a:avLst/>
          </a:prstGeom>
        </p:spPr>
        <p:txBody>
          <a:bodyPr lIns="0" tIns="0" rIns="0" bIns="0">
            <a:noAutofit/>
          </a:bodyPr>
          <a:lstStyle>
            <a:lvl1pPr marL="0" indent="0" algn="ctr">
              <a:buNone/>
              <a:defRPr sz="2700">
                <a:solidFill>
                  <a:schemeClr val="accent2"/>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4"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indent="0">
              <a:buNone/>
              <a:defRPr sz="19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33035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2" y="2284756"/>
            <a:ext cx="11529483" cy="1641475"/>
          </a:xfrm>
          <a:prstGeom prst="rect">
            <a:avLst/>
          </a:prstGeom>
        </p:spPr>
        <p:txBody>
          <a:bodyPr wrap="square" lIns="0" tIns="0" rIns="0" bIns="0" anchor="t">
            <a:no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574" y="3940624"/>
            <a:ext cx="11529481" cy="410369"/>
          </a:xfrm>
          <a:prstGeom prst="rect">
            <a:avLst/>
          </a:prstGeom>
        </p:spPr>
        <p:txBody>
          <a:bodyPr wrap="square" lIns="0" tIns="0" rIns="0" bIns="0">
            <a:noAutofit/>
          </a:bodyPr>
          <a:lstStyle>
            <a:lvl1pPr marL="0" indent="0" algn="ctr">
              <a:buNone/>
              <a:defRPr sz="2700">
                <a:solidFill>
                  <a:schemeClr val="accent2"/>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1"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3456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2" y="2284756"/>
            <a:ext cx="11529483" cy="1641475"/>
          </a:xfrm>
          <a:prstGeom prst="rect">
            <a:avLst/>
          </a:prstGeom>
        </p:spPr>
        <p:txBody>
          <a:bodyPr lIns="0" tIns="0" rIns="0" bIns="0" anchor="t">
            <a:noAutofit/>
          </a:bodyPr>
          <a:lstStyle>
            <a:lvl1pPr marL="0" indent="0" algn="ctr">
              <a:buFont typeface="Arial"/>
              <a:buNone/>
              <a:defRPr sz="53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574" y="3940624"/>
            <a:ext cx="11529481" cy="410369"/>
          </a:xfrm>
          <a:prstGeom prst="rect">
            <a:avLst/>
          </a:prstGeom>
        </p:spPr>
        <p:txBody>
          <a:bodyPr lIns="0" tIns="0" rIns="0" bIns="0">
            <a:noAutofit/>
          </a:bodyPr>
          <a:lstStyle>
            <a:lvl1pPr marL="0" indent="0" algn="ctr">
              <a:buNone/>
              <a:defRPr sz="2700">
                <a:solidFill>
                  <a:schemeClr val="bg1"/>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5"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11" name="Picture 10"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6" y="6011389"/>
            <a:ext cx="2691609" cy="742115"/>
          </a:xfrm>
          <a:prstGeom prst="rect">
            <a:avLst/>
          </a:prstGeom>
        </p:spPr>
      </p:pic>
    </p:spTree>
    <p:extLst>
      <p:ext uri="{BB962C8B-B14F-4D97-AF65-F5344CB8AC3E}">
        <p14:creationId xmlns:p14="http://schemas.microsoft.com/office/powerpoint/2010/main" val="410341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43" y="6476232"/>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9"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7" name="Picture 6"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4610" y="6013415"/>
            <a:ext cx="2542673" cy="701052"/>
          </a:xfrm>
          <a:prstGeom prst="rect">
            <a:avLst/>
          </a:prstGeom>
        </p:spPr>
      </p:pic>
      <p:sp>
        <p:nvSpPr>
          <p:cNvPr id="12" name="Title 1"/>
          <p:cNvSpPr>
            <a:spLocks noGrp="1"/>
          </p:cNvSpPr>
          <p:nvPr>
            <p:ph type="title" hasCustomPrompt="1"/>
          </p:nvPr>
        </p:nvSpPr>
        <p:spPr>
          <a:xfrm>
            <a:off x="1" y="2721436"/>
            <a:ext cx="12192000" cy="1156853"/>
          </a:xfrm>
          <a:prstGeom prst="rect">
            <a:avLst/>
          </a:prstGeom>
          <a:solidFill>
            <a:schemeClr val="tx2">
              <a:alpha val="80000"/>
            </a:schemeClr>
          </a:solidFill>
        </p:spPr>
        <p:txBody>
          <a:bodyPr lIns="335400" tIns="0" rIns="0" bIns="0" anchor="ctr" anchorCtr="0"/>
          <a:lstStyle>
            <a:lvl1pPr algn="l">
              <a:defRPr sz="32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1" y="3867206"/>
            <a:ext cx="12192000" cy="497417"/>
          </a:xfrm>
          <a:prstGeom prst="rect">
            <a:avLst/>
          </a:prstGeom>
          <a:solidFill>
            <a:schemeClr val="tx2"/>
          </a:solidFill>
        </p:spPr>
        <p:txBody>
          <a:bodyPr lIns="335400"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indent="0">
              <a:buNone/>
              <a:defRPr sz="19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7089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2188" y="2611551"/>
            <a:ext cx="4745843" cy="1308496"/>
          </a:xfrm>
          <a:prstGeom prst="rect">
            <a:avLst/>
          </a:prstGeom>
        </p:spPr>
      </p:pic>
    </p:spTree>
    <p:extLst>
      <p:ext uri="{BB962C8B-B14F-4D97-AF65-F5344CB8AC3E}">
        <p14:creationId xmlns:p14="http://schemas.microsoft.com/office/powerpoint/2010/main" val="175258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37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9065832" y="2832793"/>
            <a:ext cx="2234685" cy="1055463"/>
          </a:xfrm>
          <a:custGeom>
            <a:avLst/>
            <a:gdLst/>
            <a:ahLst/>
            <a:cxnLst/>
            <a:rect l="l" t="t" r="r" b="b"/>
            <a:pathLst>
              <a:path w="3684905" h="1740535">
                <a:moveTo>
                  <a:pt x="3581566" y="0"/>
                </a:moveTo>
                <a:lnTo>
                  <a:pt x="102782" y="0"/>
                </a:lnTo>
                <a:lnTo>
                  <a:pt x="62775" y="8075"/>
                </a:lnTo>
                <a:lnTo>
                  <a:pt x="30105" y="30099"/>
                </a:lnTo>
                <a:lnTo>
                  <a:pt x="8077" y="62766"/>
                </a:lnTo>
                <a:lnTo>
                  <a:pt x="0" y="102771"/>
                </a:lnTo>
                <a:lnTo>
                  <a:pt x="0" y="1637374"/>
                </a:lnTo>
                <a:lnTo>
                  <a:pt x="8077" y="1677380"/>
                </a:lnTo>
                <a:lnTo>
                  <a:pt x="30105" y="1710051"/>
                </a:lnTo>
                <a:lnTo>
                  <a:pt x="62775" y="1732078"/>
                </a:lnTo>
                <a:lnTo>
                  <a:pt x="102782" y="1740156"/>
                </a:lnTo>
                <a:lnTo>
                  <a:pt x="3581566" y="1740156"/>
                </a:lnTo>
                <a:lnTo>
                  <a:pt x="3621572" y="1732078"/>
                </a:lnTo>
                <a:lnTo>
                  <a:pt x="3654243" y="1710051"/>
                </a:lnTo>
                <a:lnTo>
                  <a:pt x="3676271" y="1677380"/>
                </a:lnTo>
                <a:lnTo>
                  <a:pt x="3684348" y="1637374"/>
                </a:lnTo>
                <a:lnTo>
                  <a:pt x="3684348" y="102771"/>
                </a:lnTo>
                <a:lnTo>
                  <a:pt x="3676271" y="62766"/>
                </a:lnTo>
                <a:lnTo>
                  <a:pt x="3654243" y="30099"/>
                </a:lnTo>
                <a:lnTo>
                  <a:pt x="3621572" y="8075"/>
                </a:lnTo>
                <a:lnTo>
                  <a:pt x="3581566" y="0"/>
                </a:lnTo>
                <a:close/>
              </a:path>
            </a:pathLst>
          </a:custGeom>
          <a:solidFill>
            <a:srgbClr val="3CC857"/>
          </a:solidFill>
        </p:spPr>
        <p:txBody>
          <a:bodyPr wrap="square" lIns="0" tIns="0" rIns="0" bIns="0" rtlCol="0"/>
          <a:lstStyle/>
          <a:p>
            <a:pPr marL="0" marR="0" lvl="0" indent="0" algn="l" defTabSz="608542"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mn-ea"/>
              <a:cs typeface="+mn-cs"/>
            </a:endParaRPr>
          </a:p>
        </p:txBody>
      </p:sp>
      <p:sp>
        <p:nvSpPr>
          <p:cNvPr id="2" name="Holder 2"/>
          <p:cNvSpPr>
            <a:spLocks noGrp="1"/>
          </p:cNvSpPr>
          <p:nvPr>
            <p:ph type="title"/>
          </p:nvPr>
        </p:nvSpPr>
        <p:spPr>
          <a:xfrm>
            <a:off x="1678930" y="827133"/>
            <a:ext cx="8834164" cy="909523"/>
          </a:xfrm>
          <a:prstGeom prst="rect">
            <a:avLst/>
          </a:prstGeom>
        </p:spPr>
        <p:txBody>
          <a:bodyPr lIns="0" tIns="0" rIns="0" bIns="0"/>
          <a:lstStyle>
            <a:lvl1pPr>
              <a:defRPr sz="3100" b="1" i="0">
                <a:solidFill>
                  <a:schemeClr val="bg1"/>
                </a:solidFill>
                <a:latin typeface="Arial"/>
                <a:cs typeface="Arial"/>
              </a:defRPr>
            </a:lvl1pPr>
          </a:lstStyle>
          <a:p>
            <a:endParaRPr/>
          </a:p>
        </p:txBody>
      </p:sp>
      <p:sp>
        <p:nvSpPr>
          <p:cNvPr id="3" name="Holder 3"/>
          <p:cNvSpPr>
            <a:spLocks noGrp="1"/>
          </p:cNvSpPr>
          <p:nvPr>
            <p:ph sz="half" idx="2"/>
          </p:nvPr>
        </p:nvSpPr>
        <p:spPr>
          <a:xfrm>
            <a:off x="609608" y="1577341"/>
            <a:ext cx="5303520" cy="6617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1"/>
            <a:ext cx="5303520" cy="66172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608542"/>
            <a:endParaRPr lang="en-US">
              <a:solidFill>
                <a:prstClr val="black">
                  <a:tint val="75000"/>
                </a:prstClr>
              </a:solidFill>
            </a:endParaRPr>
          </a:p>
        </p:txBody>
      </p:sp>
      <p:sp>
        <p:nvSpPr>
          <p:cNvPr id="6" name="Holder 6"/>
          <p:cNvSpPr>
            <a:spLocks noGrp="1"/>
          </p:cNvSpPr>
          <p:nvPr>
            <p:ph type="dt" sz="half" idx="6"/>
          </p:nvPr>
        </p:nvSpPr>
        <p:spPr>
          <a:xfrm>
            <a:off x="609600" y="6377942"/>
            <a:ext cx="2804160" cy="342900"/>
          </a:xfrm>
          <a:prstGeom prst="rect">
            <a:avLst/>
          </a:prstGeom>
        </p:spPr>
        <p:txBody>
          <a:bodyPr lIns="0" tIns="0" rIns="0" bIns="0"/>
          <a:lstStyle>
            <a:lvl1pPr algn="l">
              <a:defRPr>
                <a:solidFill>
                  <a:schemeClr val="tx1">
                    <a:tint val="75000"/>
                  </a:schemeClr>
                </a:solidFill>
              </a:defRPr>
            </a:lvl1pPr>
          </a:lstStyle>
          <a:p>
            <a:pPr defTabSz="608542"/>
            <a:fld id="{1D8BD707-D9CF-40AE-B4C6-C98DA3205C09}" type="datetimeFigureOut">
              <a:rPr lang="en-US" smtClean="0">
                <a:solidFill>
                  <a:prstClr val="black">
                    <a:tint val="75000"/>
                  </a:prstClr>
                </a:solidFill>
              </a:rPr>
              <a:pPr defTabSz="608542"/>
              <a:t>2/10/2026</a:t>
            </a:fld>
            <a:endParaRPr lang="en-US">
              <a:solidFill>
                <a:prstClr val="black">
                  <a:tint val="75000"/>
                </a:prstClr>
              </a:solidFill>
            </a:endParaRPr>
          </a:p>
        </p:txBody>
      </p:sp>
      <p:sp>
        <p:nvSpPr>
          <p:cNvPr id="7" name="Holder 7"/>
          <p:cNvSpPr>
            <a:spLocks noGrp="1"/>
          </p:cNvSpPr>
          <p:nvPr>
            <p:ph type="sldNum" sz="quarter" idx="7"/>
          </p:nvPr>
        </p:nvSpPr>
        <p:spPr>
          <a:xfrm>
            <a:off x="8778241" y="6377942"/>
            <a:ext cx="2804160" cy="342900"/>
          </a:xfrm>
          <a:prstGeom prst="rect">
            <a:avLst/>
          </a:prstGeom>
        </p:spPr>
        <p:txBody>
          <a:bodyPr lIns="0" tIns="0" rIns="0" bIns="0"/>
          <a:lstStyle>
            <a:lvl1pPr algn="r">
              <a:defRPr>
                <a:solidFill>
                  <a:schemeClr val="tx1">
                    <a:tint val="75000"/>
                  </a:schemeClr>
                </a:solidFill>
              </a:defRPr>
            </a:lvl1pPr>
          </a:lstStyle>
          <a:p>
            <a:pPr defTabSz="608542"/>
            <a:fld id="{B6F15528-21DE-4FAA-801E-634DDDAF4B2B}" type="slidenum">
              <a:rPr lang="en-US" smtClean="0">
                <a:solidFill>
                  <a:prstClr val="black">
                    <a:tint val="75000"/>
                  </a:prstClr>
                </a:solidFill>
              </a:rPr>
              <a:pPr defTabSz="608542"/>
              <a:t>‹#›</a:t>
            </a:fld>
            <a:endParaRPr lang="en-US">
              <a:solidFill>
                <a:prstClr val="black">
                  <a:tint val="75000"/>
                </a:prstClr>
              </a:solidFill>
            </a:endParaRPr>
          </a:p>
        </p:txBody>
      </p:sp>
    </p:spTree>
    <p:extLst>
      <p:ext uri="{BB962C8B-B14F-4D97-AF65-F5344CB8AC3E}">
        <p14:creationId xmlns:p14="http://schemas.microsoft.com/office/powerpoint/2010/main" val="7241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065216"/>
            <a:ext cx="3886200" cy="735013"/>
          </a:xfrm>
          <a:prstGeom prst="rect">
            <a:avLst/>
          </a:prstGeom>
        </p:spPr>
        <p:txBody>
          <a:bodyPr lIns="45705" tIns="22852" rIns="45705" bIns="22852"/>
          <a:lstStyle/>
          <a:p>
            <a:r>
              <a:rPr lang="en-US"/>
              <a:t>Click to edit Master title style</a:t>
            </a:r>
          </a:p>
        </p:txBody>
      </p:sp>
      <p:sp>
        <p:nvSpPr>
          <p:cNvPr id="3" name="Subtitle 2"/>
          <p:cNvSpPr>
            <a:spLocks noGrp="1"/>
          </p:cNvSpPr>
          <p:nvPr>
            <p:ph type="subTitle" idx="1"/>
          </p:nvPr>
        </p:nvSpPr>
        <p:spPr>
          <a:xfrm>
            <a:off x="685803" y="1943102"/>
            <a:ext cx="3200400" cy="876300"/>
          </a:xfrm>
          <a:prstGeom prst="rect">
            <a:avLst/>
          </a:prstGeom>
        </p:spPr>
        <p:txBody>
          <a:bodyPr lIns="45705" tIns="22852" rIns="45705" bIns="22852"/>
          <a:lstStyle>
            <a:lvl1pPr marL="0" indent="0" algn="ctr">
              <a:buNone/>
              <a:defRPr>
                <a:solidFill>
                  <a:schemeClr val="tx1">
                    <a:tint val="75000"/>
                  </a:schemeClr>
                </a:solidFill>
              </a:defRPr>
            </a:lvl1pPr>
            <a:lvl2pPr marL="228510" indent="0" algn="ctr">
              <a:buNone/>
              <a:defRPr>
                <a:solidFill>
                  <a:schemeClr val="tx1">
                    <a:tint val="75000"/>
                  </a:schemeClr>
                </a:solidFill>
              </a:defRPr>
            </a:lvl2pPr>
            <a:lvl3pPr marL="457018" indent="0" algn="ctr">
              <a:buNone/>
              <a:defRPr>
                <a:solidFill>
                  <a:schemeClr val="tx1">
                    <a:tint val="75000"/>
                  </a:schemeClr>
                </a:solidFill>
              </a:defRPr>
            </a:lvl3pPr>
            <a:lvl4pPr marL="685527" indent="0" algn="ctr">
              <a:buNone/>
              <a:defRPr>
                <a:solidFill>
                  <a:schemeClr val="tx1">
                    <a:tint val="75000"/>
                  </a:schemeClr>
                </a:solidFill>
              </a:defRPr>
            </a:lvl4pPr>
            <a:lvl5pPr marL="914033" indent="0" algn="ctr">
              <a:buNone/>
              <a:defRPr>
                <a:solidFill>
                  <a:schemeClr val="tx1">
                    <a:tint val="75000"/>
                  </a:schemeClr>
                </a:solidFill>
              </a:defRPr>
            </a:lvl5pPr>
            <a:lvl6pPr marL="1142542" indent="0" algn="ctr">
              <a:buNone/>
              <a:defRPr>
                <a:solidFill>
                  <a:schemeClr val="tx1">
                    <a:tint val="75000"/>
                  </a:schemeClr>
                </a:solidFill>
              </a:defRPr>
            </a:lvl6pPr>
            <a:lvl7pPr marL="1371050" indent="0" algn="ctr">
              <a:buNone/>
              <a:defRPr>
                <a:solidFill>
                  <a:schemeClr val="tx1">
                    <a:tint val="75000"/>
                  </a:schemeClr>
                </a:solidFill>
              </a:defRPr>
            </a:lvl7pPr>
            <a:lvl8pPr marL="1599560" indent="0" algn="ctr">
              <a:buNone/>
              <a:defRPr>
                <a:solidFill>
                  <a:schemeClr val="tx1">
                    <a:tint val="75000"/>
                  </a:schemeClr>
                </a:solidFill>
              </a:defRPr>
            </a:lvl8pPr>
            <a:lvl9pPr marL="182806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228600" y="3178180"/>
            <a:ext cx="1066800" cy="182563"/>
          </a:xfrm>
          <a:prstGeom prst="rect">
            <a:avLst/>
          </a:prstGeom>
        </p:spPr>
        <p:txBody>
          <a:bodyPr lIns="45705" tIns="22852" rIns="45705" bIns="22852"/>
          <a:lstStyle/>
          <a:p>
            <a:pPr defTabSz="608542"/>
            <a:fld id="{1D8BD707-D9CF-40AE-B4C6-C98DA3205C09}" type="datetimeFigureOut">
              <a:rPr lang="en-US" smtClean="0">
                <a:solidFill>
                  <a:prstClr val="black"/>
                </a:solidFill>
              </a:rPr>
              <a:pPr defTabSz="608542"/>
              <a:t>2/10/2026</a:t>
            </a:fld>
            <a:endParaRPr lang="en-US">
              <a:solidFill>
                <a:prstClr val="black"/>
              </a:solidFill>
            </a:endParaRPr>
          </a:p>
        </p:txBody>
      </p:sp>
      <p:sp>
        <p:nvSpPr>
          <p:cNvPr id="5" name="Footer Placeholder 4"/>
          <p:cNvSpPr>
            <a:spLocks noGrp="1"/>
          </p:cNvSpPr>
          <p:nvPr>
            <p:ph type="ftr" sz="quarter" idx="11"/>
          </p:nvPr>
        </p:nvSpPr>
        <p:spPr>
          <a:xfrm>
            <a:off x="1562103" y="3178180"/>
            <a:ext cx="1447800" cy="182563"/>
          </a:xfrm>
          <a:prstGeom prst="rect">
            <a:avLst/>
          </a:prstGeom>
        </p:spPr>
        <p:txBody>
          <a:bodyPr lIns="45705" tIns="22852" rIns="45705" bIns="22852"/>
          <a:lstStyle/>
          <a:p>
            <a:pPr defTabSz="608542"/>
            <a:endParaRPr lang="en-US">
              <a:solidFill>
                <a:prstClr val="black"/>
              </a:solidFill>
            </a:endParaRPr>
          </a:p>
        </p:txBody>
      </p:sp>
      <p:sp>
        <p:nvSpPr>
          <p:cNvPr id="6" name="Slide Number Placeholder 5"/>
          <p:cNvSpPr>
            <a:spLocks noGrp="1"/>
          </p:cNvSpPr>
          <p:nvPr>
            <p:ph type="sldNum" sz="quarter" idx="12"/>
          </p:nvPr>
        </p:nvSpPr>
        <p:spPr>
          <a:xfrm>
            <a:off x="3276600" y="3178180"/>
            <a:ext cx="1066800" cy="182563"/>
          </a:xfrm>
          <a:prstGeom prst="rect">
            <a:avLst/>
          </a:prstGeom>
        </p:spPr>
        <p:txBody>
          <a:bodyPr lIns="45705" tIns="22852" rIns="45705" bIns="22852"/>
          <a:lstStyle/>
          <a:p>
            <a:pPr defTabSz="608542"/>
            <a:fld id="{B6F15528-21DE-4FAA-801E-634DDDAF4B2B}" type="slidenum">
              <a:rPr lang="en-US" smtClean="0">
                <a:solidFill>
                  <a:prstClr val="black"/>
                </a:solidFill>
              </a:rPr>
              <a:pPr defTabSz="608542"/>
              <a:t>‹#›</a:t>
            </a:fld>
            <a:endParaRPr lang="en-US">
              <a:solidFill>
                <a:prstClr val="black"/>
              </a:solidFill>
            </a:endParaRPr>
          </a:p>
        </p:txBody>
      </p:sp>
    </p:spTree>
    <p:extLst>
      <p:ext uri="{BB962C8B-B14F-4D97-AF65-F5344CB8AC3E}">
        <p14:creationId xmlns:p14="http://schemas.microsoft.com/office/powerpoint/2010/main" val="116690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2"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6"/>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AA68C0-D75C-3540-9F3A-C0175F1AD388}"/>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a:extLst>
              <a:ext uri="{FF2B5EF4-FFF2-40B4-BE49-F238E27FC236}">
                <a16:creationId xmlns:a16="http://schemas.microsoft.com/office/drawing/2014/main" id="{5144E207-426A-054C-AF94-8A3FD45E73BD}"/>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7107667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20" y="5421738"/>
            <a:ext cx="3598333"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5" y="5421738"/>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4" y="1602699"/>
            <a:ext cx="7432559"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9" y="1602319"/>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0ABC7E8F-0115-774A-BC38-76AF7AFF62B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DA9034FD-1983-804F-8354-AAA2FF53233D}"/>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18428788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4" y="5421738"/>
            <a:ext cx="7440081"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2" y="1604437"/>
            <a:ext cx="7440083"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336552"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2" y="911156"/>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97EA7F51-8255-E14F-8E21-691F5F2CC7FE}"/>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a:extLst>
              <a:ext uri="{FF2B5EF4-FFF2-40B4-BE49-F238E27FC236}">
                <a16:creationId xmlns:a16="http://schemas.microsoft.com/office/drawing/2014/main" id="{BD476857-B9FB-E045-A646-F7CA65AAE4F6}"/>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821075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5" y="4049948"/>
            <a:ext cx="7432559"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4" y="3566415"/>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78" y="6092991"/>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2" y="1618065"/>
            <a:ext cx="7432559"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6C345DBD-E50D-AD41-9756-EDDA4610E6D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226D3636-A17D-954E-B141-EFEB060D8713}"/>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3325381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5"/>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8"/>
            <a:ext cx="5571064"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4" y="1612397"/>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A1DF86EB-6AC3-0B48-9FAA-73AB2CF271C9}"/>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a:extLst>
              <a:ext uri="{FF2B5EF4-FFF2-40B4-BE49-F238E27FC236}">
                <a16:creationId xmlns:a16="http://schemas.microsoft.com/office/drawing/2014/main" id="{6CE96C49-C935-3E43-BFBF-51236FBC0563}"/>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8081713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37"/>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4" y="5421738"/>
            <a:ext cx="557106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39" y="1604438"/>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4" name="Slide Number Placeholder 5">
            <a:extLst>
              <a:ext uri="{FF2B5EF4-FFF2-40B4-BE49-F238E27FC236}">
                <a16:creationId xmlns:a16="http://schemas.microsoft.com/office/drawing/2014/main" id="{5B7D41F9-3011-BC4F-B4D5-7F2C030720B9}"/>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9" name="Footer Placeholder 4">
            <a:extLst>
              <a:ext uri="{FF2B5EF4-FFF2-40B4-BE49-F238E27FC236}">
                <a16:creationId xmlns:a16="http://schemas.microsoft.com/office/drawing/2014/main" id="{67EF8E1C-ACA1-5C48-A28C-C245E8E167A8}"/>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5234900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5" y="3597979"/>
            <a:ext cx="11511375"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6" y="5884191"/>
            <a:ext cx="5459828"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6" y="1597680"/>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5" y="3876577"/>
            <a:ext cx="5459828"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9" name="Slide Number Placeholder 5">
            <a:extLst>
              <a:ext uri="{FF2B5EF4-FFF2-40B4-BE49-F238E27FC236}">
                <a16:creationId xmlns:a16="http://schemas.microsoft.com/office/drawing/2014/main" id="{EF064C49-3433-4547-B6F3-754E6365C779}"/>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a:extLst>
              <a:ext uri="{FF2B5EF4-FFF2-40B4-BE49-F238E27FC236}">
                <a16:creationId xmlns:a16="http://schemas.microsoft.com/office/drawing/2014/main" id="{C7FDDE87-8FF9-0749-8949-1F2B2983E9B6}"/>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9568965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8"/>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39"/>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2" y="911156"/>
            <a:ext cx="115802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59C14612-4ABB-BB47-AE64-6AF09E2FA466}"/>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95D71F70-9C97-7B4A-9698-75D186353019}"/>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48638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8"/>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39"/>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2" y="911156"/>
            <a:ext cx="115802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8" name="Slide Number Placeholder 5">
            <a:extLst>
              <a:ext uri="{FF2B5EF4-FFF2-40B4-BE49-F238E27FC236}">
                <a16:creationId xmlns:a16="http://schemas.microsoft.com/office/drawing/2014/main" id="{D2CA1BF3-9A65-5143-B7B0-9913B0776D6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9" name="Footer Placeholder 4">
            <a:extLst>
              <a:ext uri="{FF2B5EF4-FFF2-40B4-BE49-F238E27FC236}">
                <a16:creationId xmlns:a16="http://schemas.microsoft.com/office/drawing/2014/main" id="{5D24D225-3866-234D-8559-71688E004B5F}"/>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1970676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1604437"/>
            <a:ext cx="11518900"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3" y="3829387"/>
            <a:ext cx="3577975"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4" y="3829387"/>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20" y="3829387"/>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7" y="3507671"/>
            <a:ext cx="115113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4" y="5835019"/>
            <a:ext cx="35779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20" y="5835019"/>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4" y="5835019"/>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1" name="Text Placeholder 11"/>
          <p:cNvSpPr>
            <a:spLocks noGrp="1"/>
          </p:cNvSpPr>
          <p:nvPr>
            <p:ph type="body" sz="quarter" idx="36"/>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dirty="0"/>
              <a:t>Click to edit Master text styles</a:t>
            </a:r>
          </a:p>
        </p:txBody>
      </p:sp>
      <p:sp>
        <p:nvSpPr>
          <p:cNvPr id="23" name="Slide Number Placeholder 5">
            <a:extLst>
              <a:ext uri="{FF2B5EF4-FFF2-40B4-BE49-F238E27FC236}">
                <a16:creationId xmlns:a16="http://schemas.microsoft.com/office/drawing/2014/main" id="{56B23216-2459-4F48-8403-97786E311466}"/>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4" name="Footer Placeholder 4">
            <a:extLst>
              <a:ext uri="{FF2B5EF4-FFF2-40B4-BE49-F238E27FC236}">
                <a16:creationId xmlns:a16="http://schemas.microsoft.com/office/drawing/2014/main" id="{42B8D94F-632E-6D42-9D17-CFC10F3198B2}"/>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10678894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6EE33EEE-DAA7-FF4F-8D39-F67FC80055C5}"/>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a:extLst>
              <a:ext uri="{FF2B5EF4-FFF2-40B4-BE49-F238E27FC236}">
                <a16:creationId xmlns:a16="http://schemas.microsoft.com/office/drawing/2014/main" id="{965FCFBE-491F-3E4F-8093-D9B86459589A}"/>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778584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3" y="306918"/>
            <a:ext cx="11529484" cy="492444"/>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3" y="911157"/>
            <a:ext cx="11529484" cy="338556"/>
          </a:xfrm>
        </p:spPr>
        <p:txBody>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AA68C0-D75C-3540-9F3A-C0175F1AD388}"/>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a:extLst>
              <a:ext uri="{FF2B5EF4-FFF2-40B4-BE49-F238E27FC236}">
                <a16:creationId xmlns:a16="http://schemas.microsoft.com/office/drawing/2014/main" id="{5144E207-426A-054C-AF94-8A3FD45E73BD}"/>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7474419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20" y="5421738"/>
            <a:ext cx="3598333"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5" y="5421738"/>
            <a:ext cx="7432560"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3" y="1602701"/>
            <a:ext cx="7432560"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9" y="1602319"/>
            <a:ext cx="3598333" cy="3050261"/>
          </a:xfrm>
        </p:spPr>
        <p:txBody>
          <a:bodyPr>
            <a:noAutofit/>
          </a:bodyPr>
          <a:lstStyle>
            <a:lvl1pPr>
              <a:defRPr sz="1600"/>
            </a:lvl1pPr>
            <a:lvl2pPr>
              <a:defRPr sz="1468"/>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0ABC7E8F-0115-774A-BC38-76AF7AFF62B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DA9034FD-1983-804F-8354-AAA2FF53233D}"/>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52958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4" y="5421738"/>
            <a:ext cx="7440081" cy="164148"/>
          </a:xfrm>
          <a:prstGeom prst="rect">
            <a:avLst/>
          </a:prstGeom>
        </p:spPr>
        <p:txBody>
          <a:bodyPr lIns="0" tIns="0" rIns="0" bIns="0" anchor="b" anchorCtr="0">
            <a:spAutoFit/>
          </a:bodyPr>
          <a:lstStyle>
            <a:lvl1pPr marL="21165" indent="0">
              <a:buNone/>
              <a:defRPr sz="1068"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1" y="1604436"/>
            <a:ext cx="7440084" cy="362271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336553" y="306918"/>
            <a:ext cx="11529484" cy="492444"/>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3" y="911157"/>
            <a:ext cx="11529484" cy="338556"/>
          </a:xfrm>
        </p:spPr>
        <p:txBody>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97EA7F51-8255-E14F-8E21-691F5F2CC7FE}"/>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a:extLst>
              <a:ext uri="{FF2B5EF4-FFF2-40B4-BE49-F238E27FC236}">
                <a16:creationId xmlns:a16="http://schemas.microsoft.com/office/drawing/2014/main" id="{BD476857-B9FB-E045-A646-F7CA65AAE4F6}"/>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114918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5" y="4049949"/>
            <a:ext cx="7432560" cy="196197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3" y="3566415"/>
            <a:ext cx="7432560"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77" y="6092993"/>
            <a:ext cx="7432560"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1" y="1618064"/>
            <a:ext cx="7432560" cy="1827872"/>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6C345DBD-E50D-AD41-9756-EDDA4610E6D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226D3636-A17D-954E-B141-EFEB060D8713}"/>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24116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4" y="1604435"/>
            <a:ext cx="5563541" cy="361475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8"/>
            <a:ext cx="5571064"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4" y="1612396"/>
            <a:ext cx="5563541" cy="361475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A1DF86EB-6AC3-0B48-9FAA-73AB2CF271C9}"/>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a:extLst>
              <a:ext uri="{FF2B5EF4-FFF2-40B4-BE49-F238E27FC236}">
                <a16:creationId xmlns:a16="http://schemas.microsoft.com/office/drawing/2014/main" id="{6CE96C49-C935-3E43-BFBF-51236FBC0563}"/>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17483059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4" y="1604438"/>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4" y="5421738"/>
            <a:ext cx="5571065"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2"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39" y="1604438"/>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4" name="Slide Number Placeholder 5">
            <a:extLst>
              <a:ext uri="{FF2B5EF4-FFF2-40B4-BE49-F238E27FC236}">
                <a16:creationId xmlns:a16="http://schemas.microsoft.com/office/drawing/2014/main" id="{5B7D41F9-3011-BC4F-B4D5-7F2C030720B9}"/>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9" name="Footer Placeholder 4">
            <a:extLst>
              <a:ext uri="{FF2B5EF4-FFF2-40B4-BE49-F238E27FC236}">
                <a16:creationId xmlns:a16="http://schemas.microsoft.com/office/drawing/2014/main" id="{67EF8E1C-ACA1-5C48-A28C-C245E8E167A8}"/>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6676188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5" y="3597979"/>
            <a:ext cx="11511376" cy="164148"/>
          </a:xfrm>
          <a:prstGeom prst="rect">
            <a:avLst/>
          </a:prstGeom>
        </p:spPr>
        <p:txBody>
          <a:bodyPr lIns="0" tIns="0" rIns="0" bIns="0" anchor="b" anchorCtr="0">
            <a:spAutoFit/>
          </a:bodyPr>
          <a:lstStyle>
            <a:lvl1pPr marL="21165" indent="0">
              <a:buNone/>
              <a:defRPr sz="1068"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3"/>
            <a:ext cx="5467352"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6" y="5884193"/>
            <a:ext cx="5459828"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6" y="1597680"/>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5" y="3876578"/>
            <a:ext cx="5459828" cy="196330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8"/>
            <a:ext cx="5467352" cy="196330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9" name="Slide Number Placeholder 5">
            <a:extLst>
              <a:ext uri="{FF2B5EF4-FFF2-40B4-BE49-F238E27FC236}">
                <a16:creationId xmlns:a16="http://schemas.microsoft.com/office/drawing/2014/main" id="{EF064C49-3433-4547-B6F3-754E6365C779}"/>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a:extLst>
              <a:ext uri="{FF2B5EF4-FFF2-40B4-BE49-F238E27FC236}">
                <a16:creationId xmlns:a16="http://schemas.microsoft.com/office/drawing/2014/main" id="{C7FDDE87-8FF9-0749-8949-1F2B2983E9B6}"/>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2191378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4" y="5421738"/>
            <a:ext cx="3623828"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4" y="1590339"/>
            <a:ext cx="3598332" cy="35556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4" y="1590338"/>
            <a:ext cx="3623828"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8"/>
            <a:ext cx="3659716"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336553" y="306918"/>
            <a:ext cx="115802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3" y="911157"/>
            <a:ext cx="115802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59C14612-4ABB-BB47-AE64-6AF09E2FA466}"/>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95D71F70-9C97-7B4A-9698-75D186353019}"/>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7758045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4" y="5421738"/>
            <a:ext cx="3623828"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4" y="1590339"/>
            <a:ext cx="3598332" cy="35556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4" y="1590338"/>
            <a:ext cx="3623828"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8"/>
            <a:ext cx="3659716"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336553" y="306918"/>
            <a:ext cx="115802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3" y="911157"/>
            <a:ext cx="115802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cxnSp>
        <p:nvCxnSpPr>
          <p:cNvPr id="16" name="Straight Connector 15"/>
          <p:cNvCxnSpPr/>
          <p:nvPr userDrawn="1"/>
        </p:nvCxnSpPr>
        <p:spPr>
          <a:xfrm>
            <a:off x="4114217"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6"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8" name="Slide Number Placeholder 5">
            <a:extLst>
              <a:ext uri="{FF2B5EF4-FFF2-40B4-BE49-F238E27FC236}">
                <a16:creationId xmlns:a16="http://schemas.microsoft.com/office/drawing/2014/main" id="{D2CA1BF3-9A65-5143-B7B0-9913B0776D6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9" name="Footer Placeholder 4">
            <a:extLst>
              <a:ext uri="{FF2B5EF4-FFF2-40B4-BE49-F238E27FC236}">
                <a16:creationId xmlns:a16="http://schemas.microsoft.com/office/drawing/2014/main" id="{5D24D225-3866-234D-8559-71688E004B5F}"/>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0002874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3" y="1604438"/>
            <a:ext cx="11518900" cy="1841500"/>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2" y="3829387"/>
            <a:ext cx="3577976"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4" y="3829387"/>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20" y="3829387"/>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6" y="3507673"/>
            <a:ext cx="1151137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3" y="5835019"/>
            <a:ext cx="357797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20" y="5835019"/>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4" y="5835019"/>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1" name="Text Placeholder 11"/>
          <p:cNvSpPr>
            <a:spLocks noGrp="1"/>
          </p:cNvSpPr>
          <p:nvPr>
            <p:ph type="body" sz="quarter" idx="36"/>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23" name="Slide Number Placeholder 5">
            <a:extLst>
              <a:ext uri="{FF2B5EF4-FFF2-40B4-BE49-F238E27FC236}">
                <a16:creationId xmlns:a16="http://schemas.microsoft.com/office/drawing/2014/main" id="{56B23216-2459-4F48-8403-97786E311466}"/>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4" name="Footer Placeholder 4">
            <a:extLst>
              <a:ext uri="{FF2B5EF4-FFF2-40B4-BE49-F238E27FC236}">
                <a16:creationId xmlns:a16="http://schemas.microsoft.com/office/drawing/2014/main" id="{42B8D94F-632E-6D42-9D17-CFC10F3198B2}"/>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4078968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6EE33EEE-DAA7-FF4F-8D39-F67FC80055C5}"/>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a:extLst>
              <a:ext uri="{FF2B5EF4-FFF2-40B4-BE49-F238E27FC236}">
                <a16:creationId xmlns:a16="http://schemas.microsoft.com/office/drawing/2014/main" id="{965FCFBE-491F-3E4F-8093-D9B86459589A}"/>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8612515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flipV="1">
            <a:off x="0" y="4948239"/>
            <a:ext cx="12192000" cy="901700"/>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sp>
        <p:nvSpPr>
          <p:cNvPr id="10" name="Rectangle 9"/>
          <p:cNvSpPr/>
          <p:nvPr userDrawn="1"/>
        </p:nvSpPr>
        <p:spPr>
          <a:xfrm>
            <a:off x="0" y="5849940"/>
            <a:ext cx="12192000" cy="14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11" name="Picture 3"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5"/>
          <p:cNvSpPr>
            <a:spLocks noGrp="1"/>
          </p:cNvSpPr>
          <p:nvPr>
            <p:ph type="pic" sz="quarter" idx="10"/>
          </p:nvPr>
        </p:nvSpPr>
        <p:spPr>
          <a:xfrm>
            <a:off x="0" y="0"/>
            <a:ext cx="12192000" cy="5842000"/>
          </a:xfrm>
          <a:prstGeom prst="rect">
            <a:avLst/>
          </a:prstGeom>
          <a:solidFill>
            <a:srgbClr val="8E8F93">
              <a:alpha val="20000"/>
            </a:srgbClr>
          </a:solidFill>
        </p:spPr>
        <p:txBody>
          <a:bodyPr lIns="121893" tIns="60947" rIns="121893" bIns="60947"/>
          <a:lstStyle>
            <a:lvl1pPr marL="0" indent="0">
              <a:buNone/>
              <a:defRPr sz="1500">
                <a:solidFill>
                  <a:schemeClr val="accent2">
                    <a:lumMod val="60000"/>
                    <a:lumOff val="40000"/>
                  </a:schemeClr>
                </a:solidFill>
              </a:defRPr>
            </a:lvl1pPr>
          </a:lstStyle>
          <a:p>
            <a:pPr lvl="0"/>
            <a:r>
              <a:rPr lang="en-US" noProof="0"/>
              <a:t>Click icon to add picture</a:t>
            </a:r>
          </a:p>
        </p:txBody>
      </p:sp>
      <p:sp>
        <p:nvSpPr>
          <p:cNvPr id="8" name="Title 1"/>
          <p:cNvSpPr>
            <a:spLocks noGrp="1"/>
          </p:cNvSpPr>
          <p:nvPr>
            <p:ph type="ctrTitle"/>
          </p:nvPr>
        </p:nvSpPr>
        <p:spPr>
          <a:xfrm>
            <a:off x="336552" y="2628325"/>
            <a:ext cx="11565163" cy="738664"/>
          </a:xfrm>
          <a:prstGeom prst="rect">
            <a:avLst/>
          </a:prstGeom>
        </p:spPr>
        <p:txBody>
          <a:bodyPr lIns="0" tIns="0" rIns="0" bIns="0" anchor="ctr" anchorCtr="0">
            <a:spAutoFit/>
          </a:bodyPr>
          <a:lstStyle>
            <a:lvl1pPr marL="0" indent="0" algn="l">
              <a:buFont typeface="Arial"/>
              <a:buNone/>
              <a:defRPr sz="4799">
                <a:solidFill>
                  <a:schemeClr val="tx2"/>
                </a:solidFill>
              </a:defRPr>
            </a:lvl1pPr>
          </a:lstStyle>
          <a:p>
            <a:r>
              <a:rPr lang="en-US"/>
              <a:t>Click to edit Master title style</a:t>
            </a:r>
          </a:p>
        </p:txBody>
      </p:sp>
      <p:sp>
        <p:nvSpPr>
          <p:cNvPr id="9" name="Subtitle 2"/>
          <p:cNvSpPr>
            <a:spLocks noGrp="1"/>
          </p:cNvSpPr>
          <p:nvPr>
            <p:ph type="subTitle" idx="1"/>
          </p:nvPr>
        </p:nvSpPr>
        <p:spPr>
          <a:xfrm>
            <a:off x="336552" y="3421689"/>
            <a:ext cx="11565163" cy="415499"/>
          </a:xfrm>
          <a:prstGeom prst="rect">
            <a:avLst/>
          </a:prstGeom>
        </p:spPr>
        <p:txBody>
          <a:bodyPr lIns="0" tIns="0" rIns="0" bIns="0">
            <a:spAutoFit/>
          </a:bodyPr>
          <a:lstStyle>
            <a:lvl1pPr marL="0" indent="0" algn="l">
              <a:buNone/>
              <a:defRPr sz="2699" baseline="0">
                <a:solidFill>
                  <a:schemeClr val="tx1">
                    <a:tint val="75000"/>
                  </a:schemeClr>
                </a:solidFill>
              </a:defRPr>
            </a:lvl1pPr>
            <a:lvl2pPr marL="609301" indent="0" algn="ctr">
              <a:buNone/>
              <a:defRPr>
                <a:solidFill>
                  <a:schemeClr val="tx1">
                    <a:tint val="75000"/>
                  </a:schemeClr>
                </a:solidFill>
              </a:defRPr>
            </a:lvl2pPr>
            <a:lvl3pPr marL="1218600" indent="0" algn="ctr">
              <a:buNone/>
              <a:defRPr>
                <a:solidFill>
                  <a:schemeClr val="tx1">
                    <a:tint val="75000"/>
                  </a:schemeClr>
                </a:solidFill>
              </a:defRPr>
            </a:lvl3pPr>
            <a:lvl4pPr marL="1827901" indent="0" algn="ctr">
              <a:buNone/>
              <a:defRPr>
                <a:solidFill>
                  <a:schemeClr val="tx1">
                    <a:tint val="75000"/>
                  </a:schemeClr>
                </a:solidFill>
              </a:defRPr>
            </a:lvl4pPr>
            <a:lvl5pPr marL="2437202" indent="0" algn="ctr">
              <a:buNone/>
              <a:defRPr>
                <a:solidFill>
                  <a:schemeClr val="tx1">
                    <a:tint val="75000"/>
                  </a:schemeClr>
                </a:solidFill>
              </a:defRPr>
            </a:lvl5pPr>
            <a:lvl6pPr marL="3046503" indent="0" algn="ctr">
              <a:buNone/>
              <a:defRPr>
                <a:solidFill>
                  <a:schemeClr val="tx1">
                    <a:tint val="75000"/>
                  </a:schemeClr>
                </a:solidFill>
              </a:defRPr>
            </a:lvl6pPr>
            <a:lvl7pPr marL="3655803" indent="0" algn="ctr">
              <a:buNone/>
              <a:defRPr>
                <a:solidFill>
                  <a:schemeClr val="tx1">
                    <a:tint val="75000"/>
                  </a:schemeClr>
                </a:solidFill>
              </a:defRPr>
            </a:lvl7pPr>
            <a:lvl8pPr marL="4265101" indent="0" algn="ctr">
              <a:buNone/>
              <a:defRPr>
                <a:solidFill>
                  <a:schemeClr val="tx1">
                    <a:tint val="75000"/>
                  </a:schemeClr>
                </a:solidFill>
              </a:defRPr>
            </a:lvl8pPr>
            <a:lvl9pPr marL="4874403" indent="0" algn="ctr">
              <a:buNone/>
              <a:defRPr>
                <a:solidFill>
                  <a:schemeClr val="tx1">
                    <a:tint val="75000"/>
                  </a:schemeClr>
                </a:solidFill>
              </a:defRPr>
            </a:lvl9pPr>
          </a:lstStyle>
          <a:p>
            <a:r>
              <a:rPr lang="en-US"/>
              <a:t>Click to edit Master subtitle style</a:t>
            </a:r>
          </a:p>
        </p:txBody>
      </p:sp>
      <p:sp>
        <p:nvSpPr>
          <p:cNvPr id="12" name="Text Placeholder 13"/>
          <p:cNvSpPr>
            <a:spLocks noGrp="1"/>
          </p:cNvSpPr>
          <p:nvPr>
            <p:ph type="body" sz="quarter" idx="11"/>
          </p:nvPr>
        </p:nvSpPr>
        <p:spPr>
          <a:xfrm>
            <a:off x="336552" y="5272340"/>
            <a:ext cx="5814483" cy="246221"/>
          </a:xfrm>
          <a:prstGeom prst="rect">
            <a:avLst/>
          </a:prstGeom>
        </p:spPr>
        <p:txBody>
          <a:bodyPr lIns="0" tIns="0" rIns="0" bIns="0" anchor="ctr" anchorCtr="0">
            <a:spAutoFit/>
          </a:bodyPr>
          <a:lstStyle>
            <a:lvl1pPr marL="0" indent="0">
              <a:buNone/>
              <a:defRPr sz="1600">
                <a:solidFill>
                  <a:schemeClr val="bg1"/>
                </a:solidFill>
              </a:defRPr>
            </a:lvl1pPr>
          </a:lstStyle>
          <a:p>
            <a:pPr lvl="0"/>
            <a:r>
              <a:rPr lang="en-US"/>
              <a:t>Click to edit Master text styles</a:t>
            </a:r>
          </a:p>
        </p:txBody>
      </p:sp>
      <p:sp>
        <p:nvSpPr>
          <p:cNvPr id="13" name="Footer Placeholder 4"/>
          <p:cNvSpPr>
            <a:spLocks noGrp="1"/>
          </p:cNvSpPr>
          <p:nvPr>
            <p:ph type="ftr" sz="quarter" idx="12"/>
          </p:nvPr>
        </p:nvSpPr>
        <p:spPr>
          <a:xfrm>
            <a:off x="336637" y="6477002"/>
            <a:ext cx="2007123"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4F5156"/>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19481706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pic>
        <p:nvPicPr>
          <p:cNvPr id="4" name="Picture 1"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0" y="1"/>
            <a:ext cx="12192000" cy="3878280"/>
          </a:xfrm>
          <a:prstGeom prst="rect">
            <a:avLst/>
          </a:prstGeom>
          <a:solidFill>
            <a:schemeClr val="tx2">
              <a:alpha val="80000"/>
            </a:schemeClr>
          </a:solidFill>
        </p:spPr>
        <p:txBody>
          <a:bodyPr lIns="335927" tIns="0" rIns="0" bIns="335927" anchor="b" anchorCtr="0"/>
          <a:lstStyle>
            <a:lvl1pPr algn="l">
              <a:defRPr sz="3199" baseline="0">
                <a:solidFill>
                  <a:srgbClr val="FFFFFF"/>
                </a:solidFill>
              </a:defRPr>
            </a:lvl1pPr>
          </a:lstStyle>
          <a:p>
            <a:r>
              <a:rPr lang="en-US"/>
              <a:t>Click to edit Master title style</a:t>
            </a:r>
          </a:p>
        </p:txBody>
      </p:sp>
      <p:sp>
        <p:nvSpPr>
          <p:cNvPr id="8" name="Text Placeholder 9"/>
          <p:cNvSpPr>
            <a:spLocks noGrp="1"/>
          </p:cNvSpPr>
          <p:nvPr>
            <p:ph type="body" sz="quarter" idx="11"/>
          </p:nvPr>
        </p:nvSpPr>
        <p:spPr>
          <a:xfrm>
            <a:off x="0" y="3867186"/>
            <a:ext cx="12192000" cy="497417"/>
          </a:xfrm>
          <a:prstGeom prst="rect">
            <a:avLst/>
          </a:prstGeom>
          <a:solidFill>
            <a:schemeClr val="tx2"/>
          </a:solidFill>
        </p:spPr>
        <p:txBody>
          <a:bodyPr lIns="335927" tIns="0" rIns="0" bIns="0" anchor="ctr" anchorCtr="0"/>
          <a:lstStyle>
            <a:lvl1pPr marL="0" indent="0">
              <a:buNone/>
              <a:defRPr sz="1600" baseline="0">
                <a:solidFill>
                  <a:schemeClr val="bg1"/>
                </a:solidFill>
              </a:defRPr>
            </a:lvl1pPr>
          </a:lstStyle>
          <a:p>
            <a:pPr lvl="0"/>
            <a:r>
              <a:rPr lang="en-US"/>
              <a:t>Click to edit Master text styles</a:t>
            </a:r>
          </a:p>
        </p:txBody>
      </p:sp>
      <p:sp>
        <p:nvSpPr>
          <p:cNvPr id="5" name="Slide Number Placeholder 5"/>
          <p:cNvSpPr>
            <a:spLocks noGrp="1"/>
          </p:cNvSpPr>
          <p:nvPr>
            <p:ph type="sldNum" sz="quarter" idx="12"/>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3DCD58"/>
                </a:solidFill>
              </a:defRPr>
            </a:lvl1pPr>
          </a:lstStyle>
          <a:p>
            <a:pPr>
              <a:defRPr/>
            </a:pPr>
            <a:r>
              <a:rPr lang="en-US" altLang="en-US"/>
              <a:t>Page </a:t>
            </a:r>
            <a:fld id="{B4C790E1-327F-4884-8428-E618FA27A0F5}" type="slidenum">
              <a:rPr lang="en-US" altLang="en-US"/>
              <a:pPr>
                <a:defRPr/>
              </a:pPr>
              <a:t>‹#›</a:t>
            </a:fld>
            <a:endParaRPr lang="en-US" altLang="en-US"/>
          </a:p>
        </p:txBody>
      </p:sp>
      <p:sp>
        <p:nvSpPr>
          <p:cNvPr id="6" name="Footer Placeholder 4"/>
          <p:cNvSpPr>
            <a:spLocks noGrp="1"/>
          </p:cNvSpPr>
          <p:nvPr>
            <p:ph type="ftr" sz="quarter" idx="13"/>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626469"/>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3573841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pic>
        <p:nvPicPr>
          <p:cNvPr id="7" name="Picture 1"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5"/>
          <p:cNvSpPr>
            <a:spLocks noGrp="1"/>
          </p:cNvSpPr>
          <p:nvPr>
            <p:ph type="pic" sz="quarter" idx="10"/>
          </p:nvPr>
        </p:nvSpPr>
        <p:spPr>
          <a:xfrm>
            <a:off x="0" y="0"/>
            <a:ext cx="12192000" cy="6858000"/>
          </a:xfrm>
          <a:prstGeom prst="rect">
            <a:avLst/>
          </a:prstGeom>
          <a:solidFill>
            <a:srgbClr val="8E8F93">
              <a:alpha val="20000"/>
            </a:srgbClr>
          </a:solidFill>
        </p:spPr>
        <p:txBody>
          <a:bodyPr lIns="121893" tIns="60947" rIns="121893" bIns="60947"/>
          <a:lstStyle>
            <a:lvl1pPr marL="0" indent="0">
              <a:buNone/>
              <a:defRPr sz="1500">
                <a:solidFill>
                  <a:schemeClr val="accent2">
                    <a:lumMod val="60000"/>
                    <a:lumOff val="40000"/>
                  </a:schemeClr>
                </a:solidFill>
              </a:defRPr>
            </a:lvl1pPr>
          </a:lstStyle>
          <a:p>
            <a:pPr lvl="0"/>
            <a:r>
              <a:rPr lang="en-US" noProof="0"/>
              <a:t>Click icon to add picture</a:t>
            </a:r>
          </a:p>
        </p:txBody>
      </p:sp>
      <p:sp>
        <p:nvSpPr>
          <p:cNvPr id="5" name="Title 1"/>
          <p:cNvSpPr>
            <a:spLocks noGrp="1"/>
          </p:cNvSpPr>
          <p:nvPr>
            <p:ph type="title"/>
          </p:nvPr>
        </p:nvSpPr>
        <p:spPr>
          <a:xfrm>
            <a:off x="0" y="2721428"/>
            <a:ext cx="12192000" cy="1156853"/>
          </a:xfrm>
          <a:prstGeom prst="rect">
            <a:avLst/>
          </a:prstGeom>
          <a:solidFill>
            <a:schemeClr val="tx2">
              <a:alpha val="80000"/>
            </a:schemeClr>
          </a:solidFill>
        </p:spPr>
        <p:txBody>
          <a:bodyPr lIns="335927" tIns="0" rIns="0" bIns="0" anchor="ctr" anchorCtr="0"/>
          <a:lstStyle>
            <a:lvl1pPr algn="l">
              <a:defRPr sz="3199" baseline="0">
                <a:solidFill>
                  <a:srgbClr val="FFFFFF"/>
                </a:solidFill>
              </a:defRPr>
            </a:lvl1pPr>
          </a:lstStyle>
          <a:p>
            <a:r>
              <a:rPr lang="en-US"/>
              <a:t>Click to edit Master title style</a:t>
            </a:r>
          </a:p>
        </p:txBody>
      </p:sp>
      <p:sp>
        <p:nvSpPr>
          <p:cNvPr id="6" name="Text Placeholder 9"/>
          <p:cNvSpPr>
            <a:spLocks noGrp="1"/>
          </p:cNvSpPr>
          <p:nvPr>
            <p:ph type="body" sz="quarter" idx="11"/>
          </p:nvPr>
        </p:nvSpPr>
        <p:spPr>
          <a:xfrm>
            <a:off x="0" y="3867186"/>
            <a:ext cx="12192000" cy="497417"/>
          </a:xfrm>
          <a:prstGeom prst="rect">
            <a:avLst/>
          </a:prstGeom>
          <a:solidFill>
            <a:schemeClr val="tx2"/>
          </a:solidFill>
        </p:spPr>
        <p:txBody>
          <a:bodyPr lIns="335927" tIns="0" rIns="0" bIns="0" anchor="ctr" anchorCtr="0"/>
          <a:lstStyle>
            <a:lvl1pPr marL="0" indent="0">
              <a:buNone/>
              <a:defRPr sz="1600" baseline="0">
                <a:solidFill>
                  <a:schemeClr val="bg1"/>
                </a:solidFill>
              </a:defRPr>
            </a:lvl1pPr>
          </a:lstStyle>
          <a:p>
            <a:pPr lvl="0"/>
            <a:r>
              <a:rPr lang="en-US"/>
              <a:t>Click to edit Master text styles</a:t>
            </a:r>
          </a:p>
        </p:txBody>
      </p:sp>
      <p:sp>
        <p:nvSpPr>
          <p:cNvPr id="8" name="Slide Number Placeholder 5"/>
          <p:cNvSpPr>
            <a:spLocks noGrp="1"/>
          </p:cNvSpPr>
          <p:nvPr>
            <p:ph type="sldNum" sz="quarter" idx="12"/>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76A73B36-EBDB-43C7-90A6-E614C85C3CAD}" type="slidenum">
              <a:rPr lang="en-US" altLang="en-US"/>
              <a:pPr>
                <a:defRPr/>
              </a:pPr>
              <a:t>‹#›</a:t>
            </a:fld>
            <a:endParaRPr lang="en-US" altLang="en-US"/>
          </a:p>
        </p:txBody>
      </p:sp>
      <p:sp>
        <p:nvSpPr>
          <p:cNvPr id="9" name="Footer Placeholder 4"/>
          <p:cNvSpPr>
            <a:spLocks noGrp="1"/>
          </p:cNvSpPr>
          <p:nvPr>
            <p:ph type="ftr" sz="quarter" idx="13"/>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11228776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500487" y="6135688"/>
            <a:ext cx="240092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5"/>
          <p:cNvSpPr>
            <a:spLocks noGrp="1"/>
          </p:cNvSpPr>
          <p:nvPr>
            <p:ph type="pic" sz="quarter" idx="10"/>
          </p:nvPr>
        </p:nvSpPr>
        <p:spPr>
          <a:xfrm>
            <a:off x="0" y="0"/>
            <a:ext cx="12192000" cy="2641744"/>
          </a:xfrm>
          <a:prstGeom prst="rect">
            <a:avLst/>
          </a:prstGeom>
          <a:solidFill>
            <a:srgbClr val="8E8F93">
              <a:alpha val="20000"/>
            </a:srgbClr>
          </a:solidFill>
        </p:spPr>
        <p:txBody>
          <a:bodyPr lIns="121893" tIns="60947" rIns="121893" bIns="60947"/>
          <a:lstStyle>
            <a:lvl1pPr marL="0" indent="0">
              <a:buNone/>
              <a:defRPr sz="1500">
                <a:solidFill>
                  <a:schemeClr val="accent2">
                    <a:lumMod val="60000"/>
                    <a:lumOff val="40000"/>
                  </a:schemeClr>
                </a:solidFill>
              </a:defRPr>
            </a:lvl1pPr>
          </a:lstStyle>
          <a:p>
            <a:pPr lvl="0"/>
            <a:r>
              <a:rPr lang="en-US" noProof="0"/>
              <a:t>Click icon to add picture</a:t>
            </a:r>
          </a:p>
        </p:txBody>
      </p:sp>
      <p:sp>
        <p:nvSpPr>
          <p:cNvPr id="3" name="Title 1"/>
          <p:cNvSpPr>
            <a:spLocks noGrp="1"/>
          </p:cNvSpPr>
          <p:nvPr>
            <p:ph type="title"/>
          </p:nvPr>
        </p:nvSpPr>
        <p:spPr>
          <a:xfrm>
            <a:off x="0" y="2641749"/>
            <a:ext cx="12192000" cy="4216255"/>
          </a:xfrm>
          <a:prstGeom prst="rect">
            <a:avLst/>
          </a:prstGeom>
          <a:solidFill>
            <a:schemeClr val="tx2"/>
          </a:solidFill>
        </p:spPr>
        <p:txBody>
          <a:bodyPr lIns="335927" tIns="335927" rIns="335927" bIns="335927" anchor="t" anchorCtr="0"/>
          <a:lstStyle>
            <a:lvl1pPr algn="l">
              <a:defRPr sz="3199" baseline="0">
                <a:solidFill>
                  <a:srgbClr val="FFFFFF"/>
                </a:solidFill>
              </a:defRPr>
            </a:lvl1pPr>
          </a:lstStyle>
          <a:p>
            <a:r>
              <a:rPr lang="en-US"/>
              <a:t>Click to edit Master title style</a:t>
            </a:r>
          </a:p>
        </p:txBody>
      </p:sp>
      <p:sp>
        <p:nvSpPr>
          <p:cNvPr id="4" name="Text Placeholder 9"/>
          <p:cNvSpPr>
            <a:spLocks noGrp="1"/>
          </p:cNvSpPr>
          <p:nvPr>
            <p:ph type="body" sz="quarter" idx="11"/>
          </p:nvPr>
        </p:nvSpPr>
        <p:spPr>
          <a:xfrm>
            <a:off x="0" y="2144332"/>
            <a:ext cx="12192000" cy="497417"/>
          </a:xfrm>
          <a:prstGeom prst="rect">
            <a:avLst/>
          </a:prstGeom>
          <a:solidFill>
            <a:schemeClr val="tx2">
              <a:alpha val="80000"/>
            </a:schemeClr>
          </a:solidFill>
        </p:spPr>
        <p:txBody>
          <a:bodyPr lIns="335927" tIns="0" rIns="335927" bIns="0" anchor="ctr" anchorCtr="0"/>
          <a:lstStyle>
            <a:lvl1pPr marL="0" indent="0">
              <a:buNone/>
              <a:defRPr sz="1600" baseline="0">
                <a:solidFill>
                  <a:schemeClr val="bg1"/>
                </a:solidFill>
              </a:defRPr>
            </a:lvl1pPr>
          </a:lstStyle>
          <a:p>
            <a:pPr lvl="0"/>
            <a:r>
              <a:rPr lang="en-US"/>
              <a:t>Click to edit Master text styles</a:t>
            </a:r>
          </a:p>
        </p:txBody>
      </p:sp>
      <p:sp>
        <p:nvSpPr>
          <p:cNvPr id="6" name="Slide Number Placeholder 5"/>
          <p:cNvSpPr>
            <a:spLocks noGrp="1"/>
          </p:cNvSpPr>
          <p:nvPr>
            <p:ph type="sldNum" sz="quarter" idx="12"/>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90F9738E-A251-4F2F-B1B2-76423181E8DE}" type="slidenum">
              <a:rPr lang="en-US" altLang="en-US"/>
              <a:pPr>
                <a:defRPr/>
              </a:pPr>
              <a:t>‹#›</a:t>
            </a:fld>
            <a:endParaRPr lang="en-US" altLang="en-US"/>
          </a:p>
        </p:txBody>
      </p:sp>
      <p:sp>
        <p:nvSpPr>
          <p:cNvPr id="7" name="Footer Placeholder 4"/>
          <p:cNvSpPr>
            <a:spLocks noGrp="1"/>
          </p:cNvSpPr>
          <p:nvPr>
            <p:ph type="ftr" sz="quarter" idx="13"/>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33550606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4" name="Rectangle 3"/>
          <p:cNvSpPr/>
          <p:nvPr userDrawn="1"/>
        </p:nvSpPr>
        <p:spPr>
          <a:xfrm rot="5400000">
            <a:off x="-382588" y="323836"/>
            <a:ext cx="6858000" cy="621033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5" name="Picture 2"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ontent Placeholder 12"/>
          <p:cNvSpPr>
            <a:spLocks noGrp="1"/>
          </p:cNvSpPr>
          <p:nvPr>
            <p:ph sz="quarter" idx="12"/>
          </p:nvPr>
        </p:nvSpPr>
        <p:spPr>
          <a:xfrm>
            <a:off x="6151034" y="2"/>
            <a:ext cx="6040969" cy="6857999"/>
          </a:xfrm>
          <a:prstGeom prst="rect">
            <a:avLst/>
          </a:prstGeom>
          <a:solidFill>
            <a:schemeClr val="accent2">
              <a:alpha val="20000"/>
            </a:schemeClr>
          </a:solidFill>
        </p:spPr>
        <p:txBody>
          <a:bodyPr vert="horz" lIns="335927" tIns="335927" rIns="335927" bIns="335927"/>
          <a:lstStyle>
            <a:lvl1pPr marL="0" indent="0">
              <a:buNone/>
              <a:defRPr sz="1500">
                <a:solidFill>
                  <a:schemeClr val="accent2">
                    <a:lumMod val="60000"/>
                    <a:lumOff val="40000"/>
                  </a:schemeClr>
                </a:solidFill>
              </a:defRPr>
            </a:lvl1pPr>
            <a:lvl2pPr marL="590260" indent="-353310">
              <a:buFont typeface="Arial"/>
              <a:buChar char="•"/>
              <a:defRPr sz="2399">
                <a:solidFill>
                  <a:schemeClr val="accent1"/>
                </a:solidFill>
              </a:defRPr>
            </a:lvl2pPr>
            <a:lvl3pPr marL="943568" indent="-304651">
              <a:buFont typeface="Lucida Grande"/>
              <a:buChar char="–"/>
              <a:defRPr sz="2099">
                <a:solidFill>
                  <a:schemeClr val="accent1"/>
                </a:solidFill>
              </a:defRPr>
            </a:lvl3pPr>
            <a:lvl4pPr marL="1301110" indent="-304651">
              <a:buFont typeface="Lucida Grande"/>
              <a:buChar char="–"/>
              <a:defRPr sz="1900">
                <a:solidFill>
                  <a:schemeClr val="accent1"/>
                </a:solidFill>
              </a:defRPr>
            </a:lvl4pPr>
            <a:lvl5pPr marL="1677693" indent="-308882" defTabSz="418895">
              <a:buFont typeface="Lucida Grande"/>
              <a:buChar char="–"/>
              <a:defRPr sz="1900">
                <a:solidFill>
                  <a:schemeClr val="accent1"/>
                </a:solidFill>
              </a:defRPr>
            </a:lvl5pPr>
          </a:lstStyle>
          <a:p>
            <a:pPr lvl="0"/>
            <a:r>
              <a:rPr lang="en-US"/>
              <a:t>Click to edit Master text styles</a:t>
            </a:r>
          </a:p>
        </p:txBody>
      </p:sp>
      <p:sp>
        <p:nvSpPr>
          <p:cNvPr id="16" name="Content Placeholder 12"/>
          <p:cNvSpPr>
            <a:spLocks noGrp="1"/>
          </p:cNvSpPr>
          <p:nvPr>
            <p:ph sz="quarter" idx="11"/>
          </p:nvPr>
        </p:nvSpPr>
        <p:spPr>
          <a:xfrm>
            <a:off x="-58236" y="-3"/>
            <a:ext cx="6706685" cy="6858003"/>
          </a:xfrm>
          <a:prstGeom prst="rect">
            <a:avLst/>
          </a:prstGeom>
          <a:solidFill>
            <a:schemeClr val="tx2">
              <a:alpha val="80000"/>
            </a:schemeClr>
          </a:solidFill>
        </p:spPr>
        <p:txBody>
          <a:bodyPr vert="horz" lIns="335927" tIns="335927" rIns="335927" bIns="335927"/>
          <a:lstStyle>
            <a:lvl1pPr marL="0" indent="0">
              <a:buNone/>
              <a:defRPr sz="3199">
                <a:solidFill>
                  <a:schemeClr val="bg1"/>
                </a:solidFill>
              </a:defRPr>
            </a:lvl1pPr>
            <a:lvl2pPr marL="590260" indent="-353310">
              <a:buFont typeface="Arial"/>
              <a:buChar char="•"/>
              <a:defRPr sz="2699">
                <a:solidFill>
                  <a:schemeClr val="bg1"/>
                </a:solidFill>
              </a:defRPr>
            </a:lvl2pPr>
            <a:lvl3pPr marL="943568" indent="-304651">
              <a:buFont typeface="Lucida Grande"/>
              <a:buChar char="–"/>
              <a:defRPr sz="2399">
                <a:solidFill>
                  <a:schemeClr val="bg1"/>
                </a:solidFill>
              </a:defRPr>
            </a:lvl3pPr>
            <a:lvl4pPr marL="1301110" indent="-304651">
              <a:buFont typeface="Lucida Grande"/>
              <a:buChar char="–"/>
              <a:defRPr sz="2099">
                <a:solidFill>
                  <a:schemeClr val="bg1"/>
                </a:solidFill>
              </a:defRPr>
            </a:lvl4pPr>
            <a:lvl5pPr marL="1677693" indent="-308882" defTabSz="418895">
              <a:buFont typeface="Lucida Grande"/>
              <a:buChar char="–"/>
              <a:defRPr sz="20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3"/>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8841CD9E-622C-456B-B296-9C8AE7D42E43}" type="slidenum">
              <a:rPr lang="en-US" altLang="en-US"/>
              <a:pPr>
                <a:defRPr/>
              </a:pPr>
              <a:t>‹#›</a:t>
            </a:fld>
            <a:endParaRPr lang="en-US" altLang="en-US"/>
          </a:p>
        </p:txBody>
      </p:sp>
      <p:sp>
        <p:nvSpPr>
          <p:cNvPr id="7" name="Footer Placeholder 4"/>
          <p:cNvSpPr>
            <a:spLocks noGrp="1"/>
          </p:cNvSpPr>
          <p:nvPr>
            <p:ph type="ftr" sz="quarter" idx="14"/>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1816542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6" name="Rectangle 5"/>
          <p:cNvSpPr/>
          <p:nvPr userDrawn="1"/>
        </p:nvSpPr>
        <p:spPr>
          <a:xfrm rot="5400000">
            <a:off x="2473275" y="3179699"/>
            <a:ext cx="6858000" cy="49860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7" name="Picture 2"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Content Placeholder 12"/>
          <p:cNvSpPr>
            <a:spLocks noGrp="1"/>
          </p:cNvSpPr>
          <p:nvPr>
            <p:ph sz="quarter" idx="12"/>
          </p:nvPr>
        </p:nvSpPr>
        <p:spPr>
          <a:xfrm>
            <a:off x="6151034" y="4"/>
            <a:ext cx="6040969" cy="6857999"/>
          </a:xfrm>
          <a:prstGeom prst="rect">
            <a:avLst/>
          </a:prstGeom>
          <a:solidFill>
            <a:schemeClr val="accent2">
              <a:alpha val="20000"/>
            </a:schemeClr>
          </a:solidFill>
        </p:spPr>
        <p:txBody>
          <a:bodyPr vert="horz" lIns="335927" tIns="335927" rIns="335927" bIns="335927"/>
          <a:lstStyle>
            <a:lvl1pPr marL="0" indent="0">
              <a:buNone/>
              <a:defRPr sz="1500">
                <a:solidFill>
                  <a:schemeClr val="accent2">
                    <a:lumMod val="60000"/>
                    <a:lumOff val="40000"/>
                  </a:schemeClr>
                </a:solidFill>
              </a:defRPr>
            </a:lvl1pPr>
            <a:lvl2pPr marL="590260" indent="-353310">
              <a:buFont typeface="Arial"/>
              <a:buChar char="•"/>
              <a:defRPr sz="2399">
                <a:solidFill>
                  <a:schemeClr val="accent1"/>
                </a:solidFill>
              </a:defRPr>
            </a:lvl2pPr>
            <a:lvl3pPr marL="943568" indent="-304651">
              <a:buFont typeface="Lucida Grande"/>
              <a:buChar char="–"/>
              <a:defRPr sz="2099">
                <a:solidFill>
                  <a:schemeClr val="accent1"/>
                </a:solidFill>
              </a:defRPr>
            </a:lvl3pPr>
            <a:lvl4pPr marL="1301110" indent="-304651">
              <a:buFont typeface="Lucida Grande"/>
              <a:buChar char="–"/>
              <a:defRPr sz="1900">
                <a:solidFill>
                  <a:schemeClr val="accent1"/>
                </a:solidFill>
              </a:defRPr>
            </a:lvl4pPr>
            <a:lvl5pPr marL="1677693" indent="-308882" defTabSz="418895">
              <a:buFont typeface="Lucida Grande"/>
              <a:buChar char="–"/>
              <a:defRPr sz="1900">
                <a:solidFill>
                  <a:schemeClr val="accent1"/>
                </a:solidFill>
              </a:defRPr>
            </a:lvl5pPr>
          </a:lstStyle>
          <a:p>
            <a:pPr lvl="0"/>
            <a:r>
              <a:rPr lang="en-US"/>
              <a:t>Click to edit Master text styles</a:t>
            </a:r>
          </a:p>
        </p:txBody>
      </p:sp>
      <p:sp>
        <p:nvSpPr>
          <p:cNvPr id="3" name="Content Placeholder 12"/>
          <p:cNvSpPr>
            <a:spLocks noGrp="1"/>
          </p:cNvSpPr>
          <p:nvPr>
            <p:ph sz="quarter" idx="11"/>
          </p:nvPr>
        </p:nvSpPr>
        <p:spPr>
          <a:xfrm>
            <a:off x="336551" y="1310603"/>
            <a:ext cx="4999949" cy="1936940"/>
          </a:xfrm>
          <a:prstGeom prst="rect">
            <a:avLst/>
          </a:prstGeom>
          <a:noFill/>
        </p:spPr>
        <p:txBody>
          <a:bodyPr vert="horz" wrap="square" lIns="0" tIns="0" rIns="0" bIns="0">
            <a:spAutoFit/>
          </a:bodyPr>
          <a:lstStyle>
            <a:lvl1pPr marL="315228" indent="-315228">
              <a:buClr>
                <a:schemeClr val="tx2"/>
              </a:buClr>
              <a:buFont typeface="Arial" panose="020B0604020202020204" pitchFamily="34" charset="0"/>
              <a:buChar char="•"/>
              <a:defRPr sz="2699">
                <a:solidFill>
                  <a:schemeClr val="accent1"/>
                </a:solidFill>
              </a:defRPr>
            </a:lvl1pPr>
            <a:lvl2pPr marL="609301" indent="-294074">
              <a:buClr>
                <a:schemeClr val="tx2"/>
              </a:buClr>
              <a:buFont typeface="Arial" panose="020B0604020202020204" pitchFamily="34" charset="0"/>
              <a:buChar char="•"/>
              <a:defRPr sz="2399">
                <a:solidFill>
                  <a:schemeClr val="accent1"/>
                </a:solidFill>
              </a:defRPr>
            </a:lvl2pPr>
            <a:lvl3pPr marL="839906" indent="-230605">
              <a:buClr>
                <a:schemeClr val="tx2"/>
              </a:buClr>
              <a:buFont typeface="Arial" panose="020B0604020202020204" pitchFamily="34" charset="0"/>
              <a:buChar char="•"/>
              <a:defRPr sz="2099">
                <a:solidFill>
                  <a:schemeClr val="accent1"/>
                </a:solidFill>
              </a:defRPr>
            </a:lvl3pPr>
            <a:lvl4pPr marL="1070508" indent="-230605">
              <a:buClr>
                <a:schemeClr val="tx2"/>
              </a:buClr>
              <a:buFont typeface="Arial" panose="020B0604020202020204" pitchFamily="34" charset="0"/>
              <a:buChar char="•"/>
              <a:defRPr sz="1900">
                <a:solidFill>
                  <a:schemeClr val="accent1"/>
                </a:solidFill>
              </a:defRPr>
            </a:lvl4pPr>
            <a:lvl5pPr marL="1303226" indent="-232718" defTabSz="418895">
              <a:buClr>
                <a:schemeClr val="tx2"/>
              </a:buClr>
              <a:buFont typeface="Arial" panose="020B0604020202020204" pitchFamily="34" charset="0"/>
              <a:buChar char="•"/>
              <a:defRPr sz="19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p:nvPr>
        </p:nvSpPr>
        <p:spPr>
          <a:xfrm>
            <a:off x="336551" y="218224"/>
            <a:ext cx="4999949" cy="984885"/>
          </a:xfrm>
          <a:prstGeom prst="rect">
            <a:avLst/>
          </a:prstGeom>
        </p:spPr>
        <p:txBody>
          <a:bodyPr wrap="square" lIns="0" tIns="0" rIns="0" bIns="0" anchor="ctr" anchorCtr="0">
            <a:spAutoFit/>
          </a:bodyPr>
          <a:lstStyle>
            <a:lvl1pPr algn="l">
              <a:defRPr sz="3199" baseline="0">
                <a:solidFill>
                  <a:schemeClr val="tx2"/>
                </a:solidFill>
              </a:defRPr>
            </a:lvl1pPr>
          </a:lstStyle>
          <a:p>
            <a:r>
              <a:rPr lang="en-US"/>
              <a:t>Click to edit Master title style</a:t>
            </a:r>
          </a:p>
        </p:txBody>
      </p:sp>
      <p:sp>
        <p:nvSpPr>
          <p:cNvPr id="4" name="Text Placeholder 3"/>
          <p:cNvSpPr>
            <a:spLocks noGrp="1"/>
          </p:cNvSpPr>
          <p:nvPr>
            <p:ph type="body" sz="quarter" idx="14"/>
          </p:nvPr>
        </p:nvSpPr>
        <p:spPr>
          <a:xfrm>
            <a:off x="5653615" y="0"/>
            <a:ext cx="994836" cy="6858000"/>
          </a:xfrm>
          <a:prstGeom prst="rect">
            <a:avLst/>
          </a:prstGeom>
          <a:solidFill>
            <a:schemeClr val="tx2">
              <a:alpha val="80000"/>
            </a:schemeClr>
          </a:solidFill>
          <a:ln>
            <a:noFill/>
          </a:ln>
        </p:spPr>
        <p:txBody>
          <a:bodyPr lIns="121893" tIns="60947" rIns="121893" bIns="60947"/>
          <a:lstStyle>
            <a:lvl1pPr marL="0" indent="0">
              <a:buNone/>
              <a:defRPr/>
            </a:lvl1pPr>
          </a:lstStyle>
          <a:p>
            <a:pPr lvl="0"/>
            <a:r>
              <a:rPr lang="en-US"/>
              <a:t>Click to edit Master text styles</a:t>
            </a:r>
          </a:p>
        </p:txBody>
      </p:sp>
      <p:sp>
        <p:nvSpPr>
          <p:cNvPr id="8" name="Slide Number Placeholder 5"/>
          <p:cNvSpPr>
            <a:spLocks noGrp="1"/>
          </p:cNvSpPr>
          <p:nvPr>
            <p:ph type="sldNum" sz="quarter" idx="15"/>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3DCD58"/>
                </a:solidFill>
              </a:defRPr>
            </a:lvl1pPr>
          </a:lstStyle>
          <a:p>
            <a:pPr>
              <a:defRPr/>
            </a:pPr>
            <a:r>
              <a:rPr lang="en-US" altLang="en-US"/>
              <a:t>Page </a:t>
            </a:r>
            <a:fld id="{E3728618-01FB-4BC3-9D06-963C9B30AFEF}" type="slidenum">
              <a:rPr lang="en-US" altLang="en-US"/>
              <a:pPr>
                <a:defRPr/>
              </a:pPr>
              <a:t>‹#›</a:t>
            </a:fld>
            <a:endParaRPr lang="en-US" altLang="en-US"/>
          </a:p>
        </p:txBody>
      </p:sp>
      <p:sp>
        <p:nvSpPr>
          <p:cNvPr id="9" name="Footer Placeholder 4"/>
          <p:cNvSpPr>
            <a:spLocks noGrp="1"/>
          </p:cNvSpPr>
          <p:nvPr>
            <p:ph type="ftr" sz="quarter" idx="16"/>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626469"/>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36047550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pic>
        <p:nvPicPr>
          <p:cNvPr id="4" name="Picture 1"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344079" y="2900205"/>
            <a:ext cx="11511375" cy="492443"/>
          </a:xfrm>
          <a:prstGeom prst="rect">
            <a:avLst/>
          </a:prstGeom>
        </p:spPr>
        <p:txBody>
          <a:bodyPr lIns="0" tIns="0" rIns="0" bIns="0" anchor="ctr" anchorCtr="0">
            <a:spAutoFit/>
          </a:bodyPr>
          <a:lstStyle>
            <a:lvl1pPr algn="l">
              <a:defRPr sz="3199" baseline="0">
                <a:solidFill>
                  <a:schemeClr val="tx2"/>
                </a:solidFill>
              </a:defRPr>
            </a:lvl1pPr>
          </a:lstStyle>
          <a:p>
            <a:r>
              <a:rPr lang="en-US"/>
              <a:t>Click to edit Master title style</a:t>
            </a:r>
          </a:p>
        </p:txBody>
      </p:sp>
      <p:sp>
        <p:nvSpPr>
          <p:cNvPr id="8" name="Text Placeholder 9"/>
          <p:cNvSpPr>
            <a:spLocks noGrp="1"/>
          </p:cNvSpPr>
          <p:nvPr>
            <p:ph type="body" sz="quarter" idx="11"/>
          </p:nvPr>
        </p:nvSpPr>
        <p:spPr>
          <a:xfrm>
            <a:off x="344079" y="3510099"/>
            <a:ext cx="11511375" cy="292388"/>
          </a:xfrm>
          <a:prstGeom prst="rect">
            <a:avLst/>
          </a:prstGeom>
        </p:spPr>
        <p:txBody>
          <a:bodyPr lIns="0" tIns="0" rIns="0" bIns="0" anchor="ctr" anchorCtr="0">
            <a:spAutoFit/>
          </a:bodyPr>
          <a:lstStyle>
            <a:lvl1pPr marL="0" indent="0">
              <a:buNone/>
              <a:defRPr sz="1900" baseline="0">
                <a:solidFill>
                  <a:schemeClr val="accent1"/>
                </a:solidFill>
              </a:defRPr>
            </a:lvl1pPr>
          </a:lstStyle>
          <a:p>
            <a:pPr lvl="0"/>
            <a:r>
              <a:rPr lang="en-US"/>
              <a:t>Click to edit Master text styles</a:t>
            </a:r>
          </a:p>
        </p:txBody>
      </p:sp>
      <p:sp>
        <p:nvSpPr>
          <p:cNvPr id="5" name="Slide Number Placeholder 5"/>
          <p:cNvSpPr>
            <a:spLocks noGrp="1"/>
          </p:cNvSpPr>
          <p:nvPr>
            <p:ph type="sldNum" sz="quarter" idx="12"/>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3DCD58"/>
                </a:solidFill>
              </a:defRPr>
            </a:lvl1pPr>
          </a:lstStyle>
          <a:p>
            <a:pPr>
              <a:defRPr/>
            </a:pPr>
            <a:r>
              <a:rPr lang="en-US" altLang="en-US"/>
              <a:t>Page </a:t>
            </a:r>
            <a:fld id="{4D09BD68-6102-4283-9745-3F157F98189F}" type="slidenum">
              <a:rPr lang="en-US" altLang="en-US"/>
              <a:pPr>
                <a:defRPr/>
              </a:pPr>
              <a:t>‹#›</a:t>
            </a:fld>
            <a:endParaRPr lang="en-US" altLang="en-US"/>
          </a:p>
        </p:txBody>
      </p:sp>
      <p:sp>
        <p:nvSpPr>
          <p:cNvPr id="6" name="Footer Placeholder 4"/>
          <p:cNvSpPr>
            <a:spLocks noGrp="1"/>
          </p:cNvSpPr>
          <p:nvPr>
            <p:ph type="ftr" sz="quarter" idx="13"/>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626469"/>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15997663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pic>
        <p:nvPicPr>
          <p:cNvPr id="6" name="Picture 1"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5"/>
          <p:cNvSpPr>
            <a:spLocks noGrp="1"/>
          </p:cNvSpPr>
          <p:nvPr>
            <p:ph type="pic" sz="quarter" idx="10"/>
          </p:nvPr>
        </p:nvSpPr>
        <p:spPr>
          <a:xfrm>
            <a:off x="0" y="0"/>
            <a:ext cx="12192000" cy="6858000"/>
          </a:xfrm>
          <a:prstGeom prst="rect">
            <a:avLst/>
          </a:prstGeom>
          <a:solidFill>
            <a:srgbClr val="8E8F93">
              <a:alpha val="20000"/>
            </a:srgbClr>
          </a:solidFill>
        </p:spPr>
        <p:txBody>
          <a:bodyPr lIns="121893" tIns="60947" rIns="121893" bIns="60947"/>
          <a:lstStyle>
            <a:lvl1pPr marL="0" indent="0">
              <a:buNone/>
              <a:defRPr sz="1500">
                <a:solidFill>
                  <a:schemeClr val="accent2">
                    <a:lumMod val="60000"/>
                    <a:lumOff val="40000"/>
                  </a:schemeClr>
                </a:solidFill>
              </a:defRPr>
            </a:lvl1pPr>
          </a:lstStyle>
          <a:p>
            <a:pPr lvl="0"/>
            <a:r>
              <a:rPr lang="en-US" noProof="0"/>
              <a:t>Click icon to add picture</a:t>
            </a:r>
          </a:p>
        </p:txBody>
      </p:sp>
      <p:sp>
        <p:nvSpPr>
          <p:cNvPr id="4" name="Title 1"/>
          <p:cNvSpPr>
            <a:spLocks noGrp="1"/>
          </p:cNvSpPr>
          <p:nvPr>
            <p:ph type="ctrTitle"/>
          </p:nvPr>
        </p:nvSpPr>
        <p:spPr>
          <a:xfrm>
            <a:off x="336553" y="2284745"/>
            <a:ext cx="11437095" cy="815608"/>
          </a:xfrm>
          <a:prstGeom prst="rect">
            <a:avLst/>
          </a:prstGeom>
        </p:spPr>
        <p:txBody>
          <a:bodyPr lIns="0" tIns="0" rIns="0" bIns="0" anchor="t">
            <a:spAutoFit/>
          </a:bodyPr>
          <a:lstStyle>
            <a:lvl1pPr marL="0" indent="0" algn="ctr">
              <a:buFont typeface="Arial"/>
              <a:buNone/>
              <a:defRPr sz="5299">
                <a:solidFill>
                  <a:schemeClr val="bg1"/>
                </a:solidFill>
              </a:defRPr>
            </a:lvl1pPr>
          </a:lstStyle>
          <a:p>
            <a:r>
              <a:rPr lang="en-US"/>
              <a:t>Click to edit Master title style</a:t>
            </a:r>
          </a:p>
        </p:txBody>
      </p:sp>
      <p:sp>
        <p:nvSpPr>
          <p:cNvPr id="5" name="Subtitle 2"/>
          <p:cNvSpPr>
            <a:spLocks noGrp="1"/>
          </p:cNvSpPr>
          <p:nvPr>
            <p:ph type="subTitle" idx="1"/>
          </p:nvPr>
        </p:nvSpPr>
        <p:spPr>
          <a:xfrm>
            <a:off x="336552" y="3940605"/>
            <a:ext cx="11437093" cy="415499"/>
          </a:xfrm>
          <a:prstGeom prst="rect">
            <a:avLst/>
          </a:prstGeom>
        </p:spPr>
        <p:txBody>
          <a:bodyPr lIns="0" tIns="0" rIns="0" bIns="0">
            <a:spAutoFit/>
          </a:bodyPr>
          <a:lstStyle>
            <a:lvl1pPr marL="0" indent="0" algn="ctr">
              <a:buNone/>
              <a:defRPr sz="2699">
                <a:solidFill>
                  <a:schemeClr val="accent2"/>
                </a:solidFill>
              </a:defRPr>
            </a:lvl1pPr>
            <a:lvl2pPr marL="609301" indent="0" algn="ctr">
              <a:buNone/>
              <a:defRPr>
                <a:solidFill>
                  <a:schemeClr val="tx1">
                    <a:tint val="75000"/>
                  </a:schemeClr>
                </a:solidFill>
              </a:defRPr>
            </a:lvl2pPr>
            <a:lvl3pPr marL="1218600" indent="0" algn="ctr">
              <a:buNone/>
              <a:defRPr>
                <a:solidFill>
                  <a:schemeClr val="tx1">
                    <a:tint val="75000"/>
                  </a:schemeClr>
                </a:solidFill>
              </a:defRPr>
            </a:lvl3pPr>
            <a:lvl4pPr marL="1827901" indent="0" algn="ctr">
              <a:buNone/>
              <a:defRPr>
                <a:solidFill>
                  <a:schemeClr val="tx1">
                    <a:tint val="75000"/>
                  </a:schemeClr>
                </a:solidFill>
              </a:defRPr>
            </a:lvl4pPr>
            <a:lvl5pPr marL="2437202" indent="0" algn="ctr">
              <a:buNone/>
              <a:defRPr>
                <a:solidFill>
                  <a:schemeClr val="tx1">
                    <a:tint val="75000"/>
                  </a:schemeClr>
                </a:solidFill>
              </a:defRPr>
            </a:lvl5pPr>
            <a:lvl6pPr marL="3046503" indent="0" algn="ctr">
              <a:buNone/>
              <a:defRPr>
                <a:solidFill>
                  <a:schemeClr val="tx1">
                    <a:tint val="75000"/>
                  </a:schemeClr>
                </a:solidFill>
              </a:defRPr>
            </a:lvl6pPr>
            <a:lvl7pPr marL="3655803" indent="0" algn="ctr">
              <a:buNone/>
              <a:defRPr>
                <a:solidFill>
                  <a:schemeClr val="tx1">
                    <a:tint val="75000"/>
                  </a:schemeClr>
                </a:solidFill>
              </a:defRPr>
            </a:lvl7pPr>
            <a:lvl8pPr marL="4265101" indent="0" algn="ctr">
              <a:buNone/>
              <a:defRPr>
                <a:solidFill>
                  <a:schemeClr val="tx1">
                    <a:tint val="75000"/>
                  </a:schemeClr>
                </a:solidFill>
              </a:defRPr>
            </a:lvl8pPr>
            <a:lvl9pPr marL="4874403" indent="0" algn="ctr">
              <a:buNone/>
              <a:defRPr>
                <a:solidFill>
                  <a:schemeClr val="tx1">
                    <a:tint val="75000"/>
                  </a:schemeClr>
                </a:solidFill>
              </a:defRPr>
            </a:lvl9pPr>
          </a:lstStyle>
          <a:p>
            <a:r>
              <a:rPr lang="en-US"/>
              <a:t>Click to edit Master subtitle style</a:t>
            </a:r>
          </a:p>
        </p:txBody>
      </p:sp>
      <p:sp>
        <p:nvSpPr>
          <p:cNvPr id="7" name="Slide Number Placeholder 5"/>
          <p:cNvSpPr>
            <a:spLocks noGrp="1"/>
          </p:cNvSpPr>
          <p:nvPr>
            <p:ph type="sldNum" sz="quarter" idx="11"/>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17B43523-546D-4E29-99B7-5433B0521FEE}" type="slidenum">
              <a:rPr lang="en-US" altLang="en-US"/>
              <a:pPr>
                <a:defRPr/>
              </a:pPr>
              <a:t>‹#›</a:t>
            </a:fld>
            <a:endParaRPr lang="en-US" altLang="en-US"/>
          </a:p>
        </p:txBody>
      </p:sp>
      <p:sp>
        <p:nvSpPr>
          <p:cNvPr id="8" name="Footer Placeholder 4"/>
          <p:cNvSpPr>
            <a:spLocks noGrp="1"/>
          </p:cNvSpPr>
          <p:nvPr>
            <p:ph type="ftr" sz="quarter" idx="12"/>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26421981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pic>
        <p:nvPicPr>
          <p:cNvPr id="6" name="Picture 1"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5"/>
          <p:cNvSpPr>
            <a:spLocks noGrp="1"/>
          </p:cNvSpPr>
          <p:nvPr>
            <p:ph type="pic" sz="quarter" idx="10"/>
          </p:nvPr>
        </p:nvSpPr>
        <p:spPr>
          <a:xfrm>
            <a:off x="0" y="0"/>
            <a:ext cx="12192000" cy="6858000"/>
          </a:xfrm>
          <a:prstGeom prst="rect">
            <a:avLst/>
          </a:prstGeom>
          <a:solidFill>
            <a:srgbClr val="8E8F93">
              <a:alpha val="20000"/>
            </a:srgbClr>
          </a:solidFill>
        </p:spPr>
        <p:txBody>
          <a:bodyPr lIns="121893" tIns="60947" rIns="121893" bIns="60947"/>
          <a:lstStyle>
            <a:lvl1pPr marL="0" indent="0">
              <a:buNone/>
              <a:defRPr sz="1500">
                <a:solidFill>
                  <a:schemeClr val="accent2">
                    <a:lumMod val="60000"/>
                    <a:lumOff val="40000"/>
                  </a:schemeClr>
                </a:solidFill>
              </a:defRPr>
            </a:lvl1pPr>
          </a:lstStyle>
          <a:p>
            <a:pPr lvl="0"/>
            <a:r>
              <a:rPr lang="en-US" noProof="0"/>
              <a:t>Click icon to add picture</a:t>
            </a:r>
          </a:p>
        </p:txBody>
      </p:sp>
      <p:sp>
        <p:nvSpPr>
          <p:cNvPr id="4" name="Title 1"/>
          <p:cNvSpPr>
            <a:spLocks noGrp="1"/>
          </p:cNvSpPr>
          <p:nvPr>
            <p:ph type="ctrTitle"/>
          </p:nvPr>
        </p:nvSpPr>
        <p:spPr>
          <a:xfrm>
            <a:off x="336553" y="2284745"/>
            <a:ext cx="11437095" cy="815608"/>
          </a:xfrm>
          <a:prstGeom prst="rect">
            <a:avLst/>
          </a:prstGeom>
        </p:spPr>
        <p:txBody>
          <a:bodyPr lIns="0" tIns="0" rIns="0" bIns="0" anchor="t">
            <a:spAutoFit/>
          </a:bodyPr>
          <a:lstStyle>
            <a:lvl1pPr marL="0" indent="0" algn="ctr">
              <a:buFont typeface="Arial"/>
              <a:buNone/>
              <a:defRPr sz="5299">
                <a:solidFill>
                  <a:schemeClr val="accent1"/>
                </a:solidFill>
              </a:defRPr>
            </a:lvl1pPr>
          </a:lstStyle>
          <a:p>
            <a:r>
              <a:rPr lang="en-US"/>
              <a:t>Click to edit Master title style</a:t>
            </a:r>
          </a:p>
        </p:txBody>
      </p:sp>
      <p:sp>
        <p:nvSpPr>
          <p:cNvPr id="5" name="Subtitle 2"/>
          <p:cNvSpPr>
            <a:spLocks noGrp="1"/>
          </p:cNvSpPr>
          <p:nvPr>
            <p:ph type="subTitle" idx="1"/>
          </p:nvPr>
        </p:nvSpPr>
        <p:spPr>
          <a:xfrm>
            <a:off x="336552" y="3940605"/>
            <a:ext cx="11437093" cy="415499"/>
          </a:xfrm>
          <a:prstGeom prst="rect">
            <a:avLst/>
          </a:prstGeom>
        </p:spPr>
        <p:txBody>
          <a:bodyPr lIns="0" tIns="0" rIns="0" bIns="0">
            <a:spAutoFit/>
          </a:bodyPr>
          <a:lstStyle>
            <a:lvl1pPr marL="0" indent="0" algn="ctr">
              <a:buNone/>
              <a:defRPr sz="2699">
                <a:solidFill>
                  <a:schemeClr val="accent2"/>
                </a:solidFill>
              </a:defRPr>
            </a:lvl1pPr>
            <a:lvl2pPr marL="609301" indent="0" algn="ctr">
              <a:buNone/>
              <a:defRPr>
                <a:solidFill>
                  <a:schemeClr val="tx1">
                    <a:tint val="75000"/>
                  </a:schemeClr>
                </a:solidFill>
              </a:defRPr>
            </a:lvl2pPr>
            <a:lvl3pPr marL="1218600" indent="0" algn="ctr">
              <a:buNone/>
              <a:defRPr>
                <a:solidFill>
                  <a:schemeClr val="tx1">
                    <a:tint val="75000"/>
                  </a:schemeClr>
                </a:solidFill>
              </a:defRPr>
            </a:lvl3pPr>
            <a:lvl4pPr marL="1827901" indent="0" algn="ctr">
              <a:buNone/>
              <a:defRPr>
                <a:solidFill>
                  <a:schemeClr val="tx1">
                    <a:tint val="75000"/>
                  </a:schemeClr>
                </a:solidFill>
              </a:defRPr>
            </a:lvl4pPr>
            <a:lvl5pPr marL="2437202" indent="0" algn="ctr">
              <a:buNone/>
              <a:defRPr>
                <a:solidFill>
                  <a:schemeClr val="tx1">
                    <a:tint val="75000"/>
                  </a:schemeClr>
                </a:solidFill>
              </a:defRPr>
            </a:lvl5pPr>
            <a:lvl6pPr marL="3046503" indent="0" algn="ctr">
              <a:buNone/>
              <a:defRPr>
                <a:solidFill>
                  <a:schemeClr val="tx1">
                    <a:tint val="75000"/>
                  </a:schemeClr>
                </a:solidFill>
              </a:defRPr>
            </a:lvl6pPr>
            <a:lvl7pPr marL="3655803" indent="0" algn="ctr">
              <a:buNone/>
              <a:defRPr>
                <a:solidFill>
                  <a:schemeClr val="tx1">
                    <a:tint val="75000"/>
                  </a:schemeClr>
                </a:solidFill>
              </a:defRPr>
            </a:lvl7pPr>
            <a:lvl8pPr marL="4265101" indent="0" algn="ctr">
              <a:buNone/>
              <a:defRPr>
                <a:solidFill>
                  <a:schemeClr val="tx1">
                    <a:tint val="75000"/>
                  </a:schemeClr>
                </a:solidFill>
              </a:defRPr>
            </a:lvl8pPr>
            <a:lvl9pPr marL="4874403" indent="0" algn="ctr">
              <a:buNone/>
              <a:defRPr>
                <a:solidFill>
                  <a:schemeClr val="tx1">
                    <a:tint val="75000"/>
                  </a:schemeClr>
                </a:solidFill>
              </a:defRPr>
            </a:lvl9pPr>
          </a:lstStyle>
          <a:p>
            <a:r>
              <a:rPr lang="en-US"/>
              <a:t>Click to edit Master subtitle style</a:t>
            </a:r>
          </a:p>
        </p:txBody>
      </p:sp>
      <p:sp>
        <p:nvSpPr>
          <p:cNvPr id="7" name="Slide Number Placeholder 5"/>
          <p:cNvSpPr>
            <a:spLocks noGrp="1"/>
          </p:cNvSpPr>
          <p:nvPr>
            <p:ph type="sldNum" sz="quarter" idx="11"/>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3DCD58"/>
                </a:solidFill>
              </a:defRPr>
            </a:lvl1pPr>
          </a:lstStyle>
          <a:p>
            <a:pPr>
              <a:defRPr/>
            </a:pPr>
            <a:r>
              <a:rPr lang="en-US" altLang="en-US"/>
              <a:t>Page </a:t>
            </a:r>
            <a:fld id="{F519F185-5C3D-4505-AC92-01B7BB7C949B}" type="slidenum">
              <a:rPr lang="en-US" altLang="en-US"/>
              <a:pPr>
                <a:defRPr/>
              </a:pPr>
              <a:t>‹#›</a:t>
            </a:fld>
            <a:endParaRPr lang="en-US" altLang="en-US"/>
          </a:p>
        </p:txBody>
      </p:sp>
      <p:sp>
        <p:nvSpPr>
          <p:cNvPr id="8" name="Footer Placeholder 4"/>
          <p:cNvSpPr>
            <a:spLocks noGrp="1"/>
          </p:cNvSpPr>
          <p:nvPr>
            <p:ph type="ftr" sz="quarter" idx="12"/>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626469"/>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1989281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pic>
        <p:nvPicPr>
          <p:cNvPr id="6" name="Picture 1"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0319" y="6013451"/>
            <a:ext cx="2562892" cy="70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336553" y="2284745"/>
            <a:ext cx="11437095" cy="815608"/>
          </a:xfrm>
          <a:prstGeom prst="rect">
            <a:avLst/>
          </a:prstGeom>
        </p:spPr>
        <p:txBody>
          <a:bodyPr lIns="0" tIns="0" rIns="0" bIns="0" anchor="t">
            <a:spAutoFit/>
          </a:bodyPr>
          <a:lstStyle>
            <a:lvl1pPr marL="0" indent="0" algn="ctr">
              <a:buFont typeface="Arial"/>
              <a:buNone/>
              <a:defRPr sz="5299">
                <a:solidFill>
                  <a:schemeClr val="accent1"/>
                </a:solidFill>
              </a:defRPr>
            </a:lvl1pPr>
          </a:lstStyle>
          <a:p>
            <a:r>
              <a:rPr lang="en-US"/>
              <a:t>Click to edit Master title style</a:t>
            </a:r>
          </a:p>
        </p:txBody>
      </p:sp>
      <p:sp>
        <p:nvSpPr>
          <p:cNvPr id="5" name="Subtitle 2"/>
          <p:cNvSpPr>
            <a:spLocks noGrp="1"/>
          </p:cNvSpPr>
          <p:nvPr>
            <p:ph type="subTitle" idx="1"/>
          </p:nvPr>
        </p:nvSpPr>
        <p:spPr>
          <a:xfrm>
            <a:off x="336552" y="3940605"/>
            <a:ext cx="11437093" cy="415499"/>
          </a:xfrm>
          <a:prstGeom prst="rect">
            <a:avLst/>
          </a:prstGeom>
        </p:spPr>
        <p:txBody>
          <a:bodyPr lIns="0" tIns="0" rIns="0" bIns="0">
            <a:spAutoFit/>
          </a:bodyPr>
          <a:lstStyle>
            <a:lvl1pPr marL="0" indent="0" algn="ctr">
              <a:buNone/>
              <a:defRPr sz="2699">
                <a:solidFill>
                  <a:schemeClr val="accent2"/>
                </a:solidFill>
              </a:defRPr>
            </a:lvl1pPr>
            <a:lvl2pPr marL="609301" indent="0" algn="ctr">
              <a:buNone/>
              <a:defRPr>
                <a:solidFill>
                  <a:schemeClr val="tx1">
                    <a:tint val="75000"/>
                  </a:schemeClr>
                </a:solidFill>
              </a:defRPr>
            </a:lvl2pPr>
            <a:lvl3pPr marL="1218600" indent="0" algn="ctr">
              <a:buNone/>
              <a:defRPr>
                <a:solidFill>
                  <a:schemeClr val="tx1">
                    <a:tint val="75000"/>
                  </a:schemeClr>
                </a:solidFill>
              </a:defRPr>
            </a:lvl3pPr>
            <a:lvl4pPr marL="1827901" indent="0" algn="ctr">
              <a:buNone/>
              <a:defRPr>
                <a:solidFill>
                  <a:schemeClr val="tx1">
                    <a:tint val="75000"/>
                  </a:schemeClr>
                </a:solidFill>
              </a:defRPr>
            </a:lvl4pPr>
            <a:lvl5pPr marL="2437202" indent="0" algn="ctr">
              <a:buNone/>
              <a:defRPr>
                <a:solidFill>
                  <a:schemeClr val="tx1">
                    <a:tint val="75000"/>
                  </a:schemeClr>
                </a:solidFill>
              </a:defRPr>
            </a:lvl5pPr>
            <a:lvl6pPr marL="3046503" indent="0" algn="ctr">
              <a:buNone/>
              <a:defRPr>
                <a:solidFill>
                  <a:schemeClr val="tx1">
                    <a:tint val="75000"/>
                  </a:schemeClr>
                </a:solidFill>
              </a:defRPr>
            </a:lvl6pPr>
            <a:lvl7pPr marL="3655803" indent="0" algn="ctr">
              <a:buNone/>
              <a:defRPr>
                <a:solidFill>
                  <a:schemeClr val="tx1">
                    <a:tint val="75000"/>
                  </a:schemeClr>
                </a:solidFill>
              </a:defRPr>
            </a:lvl7pPr>
            <a:lvl8pPr marL="4265101" indent="0" algn="ctr">
              <a:buNone/>
              <a:defRPr>
                <a:solidFill>
                  <a:schemeClr val="tx1">
                    <a:tint val="75000"/>
                  </a:schemeClr>
                </a:solidFill>
              </a:defRPr>
            </a:lvl8pPr>
            <a:lvl9pPr marL="4874403" indent="0" algn="ctr">
              <a:buNone/>
              <a:defRPr>
                <a:solidFill>
                  <a:schemeClr val="tx1">
                    <a:tint val="75000"/>
                  </a:schemeClr>
                </a:solidFill>
              </a:defRPr>
            </a:lvl9pPr>
          </a:lstStyle>
          <a:p>
            <a:r>
              <a:rPr lang="en-US"/>
              <a:t>Click to edit Master subtitle style</a:t>
            </a:r>
          </a:p>
        </p:txBody>
      </p:sp>
      <p:sp>
        <p:nvSpPr>
          <p:cNvPr id="7"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3DCD58"/>
                </a:solidFill>
              </a:defRPr>
            </a:lvl1pPr>
          </a:lstStyle>
          <a:p>
            <a:pPr>
              <a:defRPr/>
            </a:pPr>
            <a:r>
              <a:rPr lang="en-US" altLang="en-US"/>
              <a:t>Page </a:t>
            </a:r>
            <a:fld id="{0E4ABACF-F568-4B2A-8022-E28F4B1A0927}" type="slidenum">
              <a:rPr lang="en-US" altLang="en-US"/>
              <a:pPr>
                <a:defRPr/>
              </a:pPr>
              <a:t>‹#›</a:t>
            </a:fld>
            <a:endParaRPr lang="en-US" altLang="en-US"/>
          </a:p>
        </p:txBody>
      </p:sp>
      <p:sp>
        <p:nvSpPr>
          <p:cNvPr id="8"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626469"/>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33157780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pic>
        <p:nvPicPr>
          <p:cNvPr id="4" name="Picture 1" descr="schneider_LIO_White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336553" y="2284745"/>
            <a:ext cx="11437095" cy="815608"/>
          </a:xfrm>
          <a:prstGeom prst="rect">
            <a:avLst/>
          </a:prstGeom>
        </p:spPr>
        <p:txBody>
          <a:bodyPr lIns="0" tIns="0" rIns="0" bIns="0" anchor="t">
            <a:spAutoFit/>
          </a:bodyPr>
          <a:lstStyle>
            <a:lvl1pPr marL="0" indent="0" algn="ctr">
              <a:buFont typeface="Arial"/>
              <a:buNone/>
              <a:defRPr sz="5299">
                <a:solidFill>
                  <a:schemeClr val="bg1"/>
                </a:solidFill>
              </a:defRPr>
            </a:lvl1pPr>
          </a:lstStyle>
          <a:p>
            <a:r>
              <a:rPr lang="en-US"/>
              <a:t>Click to edit Master title style</a:t>
            </a:r>
          </a:p>
        </p:txBody>
      </p:sp>
      <p:sp>
        <p:nvSpPr>
          <p:cNvPr id="10" name="Subtitle 2"/>
          <p:cNvSpPr>
            <a:spLocks noGrp="1"/>
          </p:cNvSpPr>
          <p:nvPr>
            <p:ph type="subTitle" idx="1"/>
          </p:nvPr>
        </p:nvSpPr>
        <p:spPr>
          <a:xfrm>
            <a:off x="336552" y="3940605"/>
            <a:ext cx="11437093" cy="415499"/>
          </a:xfrm>
          <a:prstGeom prst="rect">
            <a:avLst/>
          </a:prstGeom>
        </p:spPr>
        <p:txBody>
          <a:bodyPr lIns="0" tIns="0" rIns="0" bIns="0">
            <a:spAutoFit/>
          </a:bodyPr>
          <a:lstStyle>
            <a:lvl1pPr marL="0" indent="0" algn="ctr">
              <a:buNone/>
              <a:defRPr sz="2699">
                <a:solidFill>
                  <a:schemeClr val="bg1"/>
                </a:solidFill>
              </a:defRPr>
            </a:lvl1pPr>
            <a:lvl2pPr marL="609301" indent="0" algn="ctr">
              <a:buNone/>
              <a:defRPr>
                <a:solidFill>
                  <a:schemeClr val="tx1">
                    <a:tint val="75000"/>
                  </a:schemeClr>
                </a:solidFill>
              </a:defRPr>
            </a:lvl2pPr>
            <a:lvl3pPr marL="1218600" indent="0" algn="ctr">
              <a:buNone/>
              <a:defRPr>
                <a:solidFill>
                  <a:schemeClr val="tx1">
                    <a:tint val="75000"/>
                  </a:schemeClr>
                </a:solidFill>
              </a:defRPr>
            </a:lvl3pPr>
            <a:lvl4pPr marL="1827901" indent="0" algn="ctr">
              <a:buNone/>
              <a:defRPr>
                <a:solidFill>
                  <a:schemeClr val="tx1">
                    <a:tint val="75000"/>
                  </a:schemeClr>
                </a:solidFill>
              </a:defRPr>
            </a:lvl4pPr>
            <a:lvl5pPr marL="2437202" indent="0" algn="ctr">
              <a:buNone/>
              <a:defRPr>
                <a:solidFill>
                  <a:schemeClr val="tx1">
                    <a:tint val="75000"/>
                  </a:schemeClr>
                </a:solidFill>
              </a:defRPr>
            </a:lvl5pPr>
            <a:lvl6pPr marL="3046503" indent="0" algn="ctr">
              <a:buNone/>
              <a:defRPr>
                <a:solidFill>
                  <a:schemeClr val="tx1">
                    <a:tint val="75000"/>
                  </a:schemeClr>
                </a:solidFill>
              </a:defRPr>
            </a:lvl6pPr>
            <a:lvl7pPr marL="3655803" indent="0" algn="ctr">
              <a:buNone/>
              <a:defRPr>
                <a:solidFill>
                  <a:schemeClr val="tx1">
                    <a:tint val="75000"/>
                  </a:schemeClr>
                </a:solidFill>
              </a:defRPr>
            </a:lvl7pPr>
            <a:lvl8pPr marL="4265101" indent="0" algn="ctr">
              <a:buNone/>
              <a:defRPr>
                <a:solidFill>
                  <a:schemeClr val="tx1">
                    <a:tint val="75000"/>
                  </a:schemeClr>
                </a:solidFill>
              </a:defRPr>
            </a:lvl8pPr>
            <a:lvl9pPr marL="4874403" indent="0" algn="ctr">
              <a:buNone/>
              <a:defRPr>
                <a:solidFill>
                  <a:schemeClr val="tx1">
                    <a:tint val="75000"/>
                  </a:schemeClr>
                </a:solidFill>
              </a:defRPr>
            </a:lvl9pPr>
          </a:lstStyle>
          <a:p>
            <a:r>
              <a:rPr lang="en-US"/>
              <a:t>Click to edit Master subtitle style</a:t>
            </a:r>
          </a:p>
        </p:txBody>
      </p:sp>
      <p:sp>
        <p:nvSpPr>
          <p:cNvPr id="5"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A8774DC5-36A4-48BB-AEA9-7500432CC35D}" type="slidenum">
              <a:rPr lang="en-US" altLang="en-US"/>
              <a:pPr>
                <a:defRPr/>
              </a:pPr>
              <a:t>‹#›</a:t>
            </a:fld>
            <a:endParaRPr lang="en-US" altLang="en-US"/>
          </a:p>
        </p:txBody>
      </p:sp>
      <p:sp>
        <p:nvSpPr>
          <p:cNvPr id="6"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2794755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4827590"/>
            <a:ext cx="12192000" cy="2030412"/>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4" name="Picture 3"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B9249854-0EB9-4FC9-BFD5-14027F7CBB88}" type="slidenum">
              <a:rPr lang="en-US" altLang="en-US"/>
              <a:pPr>
                <a:defRPr/>
              </a:pPr>
              <a:t>‹#›</a:t>
            </a:fld>
            <a:endParaRPr lang="en-US" altLang="en-US"/>
          </a:p>
        </p:txBody>
      </p:sp>
      <p:sp>
        <p:nvSpPr>
          <p:cNvPr id="6"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5516148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2" name="Picture 1" descr="Weave_463028807_LI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4827590"/>
            <a:ext cx="12192000" cy="2030412"/>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4" name="Picture 3"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7BBBB7F7-8151-4F87-9268-C98E99A2852D}" type="slidenum">
              <a:rPr lang="en-US" altLang="en-US"/>
              <a:pPr>
                <a:defRPr/>
              </a:pPr>
              <a:t>‹#›</a:t>
            </a:fld>
            <a:endParaRPr lang="en-US" altLang="en-US"/>
          </a:p>
        </p:txBody>
      </p:sp>
      <p:sp>
        <p:nvSpPr>
          <p:cNvPr id="6"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23418215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2" name="Rectangle 1"/>
          <p:cNvSpPr/>
          <p:nvPr userDrawn="1"/>
        </p:nvSpPr>
        <p:spPr>
          <a:xfrm>
            <a:off x="0" y="4827590"/>
            <a:ext cx="12192000" cy="2030412"/>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sp>
        <p:nvSpPr>
          <p:cNvPr id="3" name="TextBox 2"/>
          <p:cNvSpPr txBox="1">
            <a:spLocks noChangeArrowheads="1"/>
          </p:cNvSpPr>
          <p:nvPr userDrawn="1"/>
        </p:nvSpPr>
        <p:spPr bwMode="auto">
          <a:xfrm>
            <a:off x="2232608" y="6469066"/>
            <a:ext cx="11115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Arial" panose="020B0604020202020204" pitchFamily="34" charset="0"/>
                <a:cs typeface="Arial" panose="020B0604020202020204" pitchFamily="34" charset="0"/>
              </a:defRPr>
            </a:lvl1pPr>
            <a:lvl2pPr marL="742950" indent="-285750" defTabSz="608013">
              <a:defRPr>
                <a:solidFill>
                  <a:schemeClr val="tx1"/>
                </a:solidFill>
                <a:latin typeface="Arial" panose="020B0604020202020204" pitchFamily="34" charset="0"/>
                <a:cs typeface="Arial" panose="020B0604020202020204" pitchFamily="34" charset="0"/>
              </a:defRPr>
            </a:lvl2pPr>
            <a:lvl3pPr marL="1143000" indent="-228600" defTabSz="608013">
              <a:defRPr>
                <a:solidFill>
                  <a:schemeClr val="tx1"/>
                </a:solidFill>
                <a:latin typeface="Arial" panose="020B0604020202020204" pitchFamily="34" charset="0"/>
                <a:cs typeface="Arial" panose="020B0604020202020204" pitchFamily="34" charset="0"/>
              </a:defRPr>
            </a:lvl3pPr>
            <a:lvl4pPr marL="1600200" indent="-228600" defTabSz="608013">
              <a:defRPr>
                <a:solidFill>
                  <a:schemeClr val="tx1"/>
                </a:solidFill>
                <a:latin typeface="Arial" panose="020B0604020202020204" pitchFamily="34" charset="0"/>
                <a:cs typeface="Arial" panose="020B0604020202020204" pitchFamily="34" charset="0"/>
              </a:defRPr>
            </a:lvl4pPr>
            <a:lvl5pPr marL="2057400" indent="-228600" defTabSz="608013">
              <a:defRPr>
                <a:solidFill>
                  <a:schemeClr val="tx1"/>
                </a:solidFill>
                <a:latin typeface="Arial" panose="020B0604020202020204" pitchFamily="34" charset="0"/>
                <a:cs typeface="Arial" panose="020B0604020202020204" pitchFamily="34" charset="0"/>
              </a:defRPr>
            </a:lvl5pPr>
            <a:lvl6pPr marL="25146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800">
                <a:solidFill>
                  <a:srgbClr val="FFFFFF"/>
                </a:solidFill>
              </a:rPr>
              <a:t>|</a:t>
            </a:r>
          </a:p>
        </p:txBody>
      </p:sp>
      <p:pic>
        <p:nvPicPr>
          <p:cNvPr id="4" name="Picture 3" descr="Weave_486603441_LI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txBox="1">
            <a:spLocks/>
          </p:cNvSpPr>
          <p:nvPr userDrawn="1"/>
        </p:nvSpPr>
        <p:spPr>
          <a:xfrm>
            <a:off x="2331058" y="6491162"/>
            <a:ext cx="700271" cy="92333"/>
          </a:xfrm>
          <a:prstGeom prst="rect">
            <a:avLst/>
          </a:prstGeom>
        </p:spPr>
        <p:txBody>
          <a:bodyPr lIns="0" tIns="0" rIns="0" bIns="0" anchor="ctr">
            <a:spAutoFit/>
          </a:bodyPr>
          <a:lstStyle>
            <a:lvl1pPr defTabSz="457200" eaLnBrk="0" hangingPunct="0">
              <a:defRPr>
                <a:solidFill>
                  <a:schemeClr val="tx1"/>
                </a:solidFill>
                <a:latin typeface="Arial" panose="020B0604020202020204" pitchFamily="34" charset="0"/>
                <a:cs typeface="Arial" panose="020B0604020202020204" pitchFamily="34" charset="0"/>
              </a:defRPr>
            </a:lvl1pPr>
            <a:lvl2pPr marL="742950" indent="-285750" defTabSz="457200" eaLnBrk="0" hangingPunct="0">
              <a:defRPr>
                <a:solidFill>
                  <a:schemeClr val="tx1"/>
                </a:solidFill>
                <a:latin typeface="Arial" panose="020B0604020202020204" pitchFamily="34" charset="0"/>
                <a:cs typeface="Arial" panose="020B0604020202020204" pitchFamily="34" charset="0"/>
              </a:defRPr>
            </a:lvl2pPr>
            <a:lvl3pPr marL="1143000" indent="-228600" defTabSz="457200" eaLnBrk="0" hangingPunct="0">
              <a:defRPr>
                <a:solidFill>
                  <a:schemeClr val="tx1"/>
                </a:solidFill>
                <a:latin typeface="Arial" panose="020B0604020202020204" pitchFamily="34" charset="0"/>
                <a:cs typeface="Arial" panose="020B0604020202020204" pitchFamily="34" charset="0"/>
              </a:defRPr>
            </a:lvl3pPr>
            <a:lvl4pPr marL="1600200" indent="-228600" defTabSz="457200" eaLnBrk="0" hangingPunct="0">
              <a:defRPr>
                <a:solidFill>
                  <a:schemeClr val="tx1"/>
                </a:solidFill>
                <a:latin typeface="Arial" panose="020B0604020202020204" pitchFamily="34" charset="0"/>
                <a:cs typeface="Arial" panose="020B0604020202020204" pitchFamily="34" charset="0"/>
              </a:defRPr>
            </a:lvl4pPr>
            <a:lvl5pPr marL="2057400" indent="-228600" defTabSz="4572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600">
                <a:solidFill>
                  <a:srgbClr val="FFFFFF"/>
                </a:solidFill>
              </a:rPr>
              <a:t>Page </a:t>
            </a:r>
            <a:fld id="{1DF3FEBC-BBD0-427D-AEFE-7F7552FCBCB0}" type="slidenum">
              <a:rPr lang="en-US" altLang="en-US" sz="600" smtClean="0">
                <a:solidFill>
                  <a:srgbClr val="FFFFFF"/>
                </a:solidFill>
              </a:rPr>
              <a:pPr eaLnBrk="1" hangingPunct="1">
                <a:defRPr/>
              </a:pPr>
              <a:t>‹#›</a:t>
            </a:fld>
            <a:endParaRPr lang="en-US" altLang="en-US" sz="600">
              <a:solidFill>
                <a:srgbClr val="FFFFFF"/>
              </a:solidFill>
            </a:endParaRPr>
          </a:p>
        </p:txBody>
      </p:sp>
      <p:sp>
        <p:nvSpPr>
          <p:cNvPr id="7" name="Footer Placeholder 4"/>
          <p:cNvSpPr txBox="1">
            <a:spLocks/>
          </p:cNvSpPr>
          <p:nvPr userDrawn="1"/>
        </p:nvSpPr>
        <p:spPr>
          <a:xfrm>
            <a:off x="336637" y="6491162"/>
            <a:ext cx="2013475" cy="92333"/>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a:t>Confidential Property of Schneider Electric |</a:t>
            </a:r>
          </a:p>
        </p:txBody>
      </p:sp>
      <p:sp>
        <p:nvSpPr>
          <p:cNvPr id="8" name="Slide Number Placeholder 5"/>
          <p:cNvSpPr>
            <a:spLocks noGrp="1"/>
          </p:cNvSpPr>
          <p:nvPr>
            <p:ph type="sldNum" sz="quarter" idx="10"/>
          </p:nvPr>
        </p:nvSpPr>
        <p:spPr>
          <a:xfrm>
            <a:off x="2350114"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13EC3278-9D46-40BB-9CD8-142B6CD5FBDC}" type="slidenum">
              <a:rPr lang="en-US" altLang="en-US"/>
              <a:pPr>
                <a:defRPr/>
              </a:pPr>
              <a:t>‹#›</a:t>
            </a:fld>
            <a:endParaRPr lang="en-US" altLang="en-US"/>
          </a:p>
        </p:txBody>
      </p:sp>
      <p:sp>
        <p:nvSpPr>
          <p:cNvPr id="9" name="Footer Placeholder 4"/>
          <p:cNvSpPr>
            <a:spLocks noGrp="1"/>
          </p:cNvSpPr>
          <p:nvPr>
            <p:ph type="ftr" sz="quarter" idx="11"/>
          </p:nvPr>
        </p:nvSpPr>
        <p:spPr>
          <a:xfrm>
            <a:off x="336637" y="6477002"/>
            <a:ext cx="2007123"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4701464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2" name="Picture 1" descr="Weave_522513175_LI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4827590"/>
            <a:ext cx="12192000" cy="2030412"/>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4" name="Picture 3"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3F103DC8-6EBA-47E3-9247-677CC27DACEF}" type="slidenum">
              <a:rPr lang="en-US" altLang="en-US"/>
              <a:pPr>
                <a:defRPr/>
              </a:pPr>
              <a:t>‹#›</a:t>
            </a:fld>
            <a:endParaRPr lang="en-US" altLang="en-US"/>
          </a:p>
        </p:txBody>
      </p:sp>
      <p:sp>
        <p:nvSpPr>
          <p:cNvPr id="6"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32746132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2" name="Picture 1" descr="Weave_522794209_LI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4827590"/>
            <a:ext cx="12192000" cy="2030412"/>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4" name="Picture 3"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BFAAFA0E-190C-4465-B8A4-2A010A7C81E1}" type="slidenum">
              <a:rPr lang="en-US" altLang="en-US"/>
              <a:pPr>
                <a:defRPr/>
              </a:pPr>
              <a:t>‹#›</a:t>
            </a:fld>
            <a:endParaRPr lang="en-US" altLang="en-US"/>
          </a:p>
        </p:txBody>
      </p:sp>
      <p:sp>
        <p:nvSpPr>
          <p:cNvPr id="6"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21222957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2" name="Picture 1" descr="Weave_528351183_LI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4827590"/>
            <a:ext cx="12192000" cy="2030412"/>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3" tIns="60931" rIns="121863" bIns="60931" anchor="ctr"/>
          <a:lstStyle/>
          <a:p>
            <a:pPr algn="ctr" defTabSz="609301" eaLnBrk="1" fontAlgn="auto" hangingPunct="1">
              <a:spcBef>
                <a:spcPts val="0"/>
              </a:spcBef>
              <a:spcAft>
                <a:spcPts val="0"/>
              </a:spcAft>
              <a:defRPr/>
            </a:pPr>
            <a:endParaRPr lang="en-US" sz="2399">
              <a:solidFill>
                <a:prstClr val="white"/>
              </a:solidFill>
            </a:endParaRPr>
          </a:p>
        </p:txBody>
      </p:sp>
      <p:pic>
        <p:nvPicPr>
          <p:cNvPr id="4" name="Picture 3"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75084" y="6027740"/>
            <a:ext cx="2542249"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2331058" y="6477002"/>
            <a:ext cx="700271"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defRPr>
            </a:lvl1pPr>
          </a:lstStyle>
          <a:p>
            <a:pPr>
              <a:defRPr/>
            </a:pPr>
            <a:r>
              <a:rPr lang="en-US" altLang="en-US"/>
              <a:t>Page </a:t>
            </a:r>
            <a:fld id="{A283A335-0D26-481E-BCCB-B21100DB6B00}" type="slidenum">
              <a:rPr lang="en-US" altLang="en-US"/>
              <a:pPr>
                <a:defRPr/>
              </a:pPr>
              <a:t>‹#›</a:t>
            </a:fld>
            <a:endParaRPr lang="en-US" altLang="en-US"/>
          </a:p>
        </p:txBody>
      </p:sp>
      <p:sp>
        <p:nvSpPr>
          <p:cNvPr id="6" name="Footer Placeholder 4"/>
          <p:cNvSpPr>
            <a:spLocks noGrp="1"/>
          </p:cNvSpPr>
          <p:nvPr>
            <p:ph type="ftr" sz="quarter" idx="11"/>
          </p:nvPr>
        </p:nvSpPr>
        <p:spPr>
          <a:xfrm>
            <a:off x="336637" y="6477002"/>
            <a:ext cx="2013475" cy="122239"/>
          </a:xfrm>
          <a:prstGeom prst="rect">
            <a:avLst/>
          </a:prstGeom>
        </p:spPr>
        <p:txBody>
          <a:bodyPr vert="horz" wrap="square" lIns="0" tIns="0" rIns="0" bIns="0" numCol="1" anchor="ctr" anchorCtr="0" compatLnSpc="1">
            <a:prstTxWarp prst="textNoShape">
              <a:avLst/>
            </a:prstTxWarp>
            <a:spAutoFit/>
          </a:bodyPr>
          <a:lstStyle>
            <a:lvl1pPr eaLnBrk="1" hangingPunct="1">
              <a:defRPr sz="800">
                <a:solidFill>
                  <a:srgbClr val="FFFFFF"/>
                </a:solidFill>
                <a:latin typeface="Arial" charset="0"/>
                <a:cs typeface="Arial" charset="0"/>
              </a:defRPr>
            </a:lvl1pPr>
          </a:lstStyle>
          <a:p>
            <a:pPr>
              <a:defRPr/>
            </a:pPr>
            <a:r>
              <a:rPr lang="en-US"/>
              <a:t>Confidential Property of Schneider Electric |</a:t>
            </a:r>
          </a:p>
        </p:txBody>
      </p:sp>
    </p:spTree>
    <p:extLst>
      <p:ext uri="{BB962C8B-B14F-4D97-AF65-F5344CB8AC3E}">
        <p14:creationId xmlns:p14="http://schemas.microsoft.com/office/powerpoint/2010/main" val="23457324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2" name="Picture 1" descr="schneider_LIO_White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42674" y="2752727"/>
            <a:ext cx="4906653" cy="1352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3801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Image &amp; Text - Gray">
    <p:bg>
      <p:bgPr>
        <a:solidFill>
          <a:srgbClr val="42B4E6"/>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608172" y="6566616"/>
            <a:ext cx="283918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608013">
              <a:defRPr>
                <a:solidFill>
                  <a:schemeClr val="tx1"/>
                </a:solidFill>
                <a:latin typeface="Arial" panose="020B0604020202020204" pitchFamily="34" charset="0"/>
                <a:cs typeface="Arial" panose="020B0604020202020204" pitchFamily="34" charset="0"/>
              </a:defRPr>
            </a:lvl1pPr>
            <a:lvl2pPr marL="742950" indent="-285750" defTabSz="608013">
              <a:defRPr>
                <a:solidFill>
                  <a:schemeClr val="tx1"/>
                </a:solidFill>
                <a:latin typeface="Arial" panose="020B0604020202020204" pitchFamily="34" charset="0"/>
                <a:cs typeface="Arial" panose="020B0604020202020204" pitchFamily="34" charset="0"/>
              </a:defRPr>
            </a:lvl2pPr>
            <a:lvl3pPr marL="1143000" indent="-228600" defTabSz="608013">
              <a:defRPr>
                <a:solidFill>
                  <a:schemeClr val="tx1"/>
                </a:solidFill>
                <a:latin typeface="Arial" panose="020B0604020202020204" pitchFamily="34" charset="0"/>
                <a:cs typeface="Arial" panose="020B0604020202020204" pitchFamily="34" charset="0"/>
              </a:defRPr>
            </a:lvl3pPr>
            <a:lvl4pPr marL="1600200" indent="-228600" defTabSz="608013">
              <a:defRPr>
                <a:solidFill>
                  <a:schemeClr val="tx1"/>
                </a:solidFill>
                <a:latin typeface="Arial" panose="020B0604020202020204" pitchFamily="34" charset="0"/>
                <a:cs typeface="Arial" panose="020B0604020202020204" pitchFamily="34" charset="0"/>
              </a:defRPr>
            </a:lvl4pPr>
            <a:lvl5pPr marL="2057400" indent="-228600" defTabSz="608013">
              <a:defRPr>
                <a:solidFill>
                  <a:schemeClr val="tx1"/>
                </a:solidFill>
                <a:latin typeface="Arial" panose="020B0604020202020204" pitchFamily="34" charset="0"/>
                <a:cs typeface="Arial" panose="020B0604020202020204" pitchFamily="34" charset="0"/>
              </a:defRPr>
            </a:lvl5pPr>
            <a:lvl6pPr marL="25146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08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800">
                <a:solidFill>
                  <a:srgbClr val="FFFFFF"/>
                </a:solidFill>
              </a:rPr>
              <a:t>Confidential Property of Schneider Electric</a:t>
            </a:r>
          </a:p>
        </p:txBody>
      </p:sp>
      <p:sp>
        <p:nvSpPr>
          <p:cNvPr id="6" name="TextBox 5"/>
          <p:cNvSpPr txBox="1"/>
          <p:nvPr userDrawn="1"/>
        </p:nvSpPr>
        <p:spPr>
          <a:xfrm>
            <a:off x="10945492" y="6567490"/>
            <a:ext cx="916225" cy="123111"/>
          </a:xfrm>
          <a:prstGeom prst="rect">
            <a:avLst/>
          </a:prstGeom>
          <a:noFill/>
        </p:spPr>
        <p:txBody>
          <a:bodyPr lIns="0" tIns="0" rIns="0" bIns="0">
            <a:spAutoFit/>
          </a:bodyPr>
          <a:lstStyle>
            <a:lvl1pPr defTabSz="608013">
              <a:defRPr sz="1900">
                <a:solidFill>
                  <a:schemeClr val="tx1"/>
                </a:solidFill>
                <a:latin typeface="Arial" panose="020B0604020202020204" pitchFamily="34" charset="0"/>
              </a:defRPr>
            </a:lvl1pPr>
            <a:lvl2pPr marL="742950" indent="-285750" defTabSz="608013">
              <a:defRPr sz="1900">
                <a:solidFill>
                  <a:schemeClr val="tx1"/>
                </a:solidFill>
                <a:latin typeface="Arial" panose="020B0604020202020204" pitchFamily="34" charset="0"/>
              </a:defRPr>
            </a:lvl2pPr>
            <a:lvl3pPr marL="1143000" indent="-228600" defTabSz="608013">
              <a:defRPr sz="1900">
                <a:solidFill>
                  <a:schemeClr val="tx1"/>
                </a:solidFill>
                <a:latin typeface="Arial" panose="020B0604020202020204" pitchFamily="34" charset="0"/>
              </a:defRPr>
            </a:lvl3pPr>
            <a:lvl4pPr marL="1600200" indent="-228600" defTabSz="608013">
              <a:defRPr sz="1900">
                <a:solidFill>
                  <a:schemeClr val="tx1"/>
                </a:solidFill>
                <a:latin typeface="Arial" panose="020B0604020202020204" pitchFamily="34" charset="0"/>
              </a:defRPr>
            </a:lvl4pPr>
            <a:lvl5pPr marL="2057400" indent="-228600" defTabSz="608013">
              <a:defRPr sz="1900">
                <a:solidFill>
                  <a:schemeClr val="tx1"/>
                </a:solidFill>
                <a:latin typeface="Arial" panose="020B0604020202020204" pitchFamily="34" charset="0"/>
              </a:defRPr>
            </a:lvl5pPr>
            <a:lvl6pPr marL="2514600" indent="-228600" defTabSz="608013" fontAlgn="base">
              <a:spcBef>
                <a:spcPct val="0"/>
              </a:spcBef>
              <a:spcAft>
                <a:spcPct val="0"/>
              </a:spcAft>
              <a:defRPr sz="1900">
                <a:solidFill>
                  <a:schemeClr val="tx1"/>
                </a:solidFill>
                <a:latin typeface="Arial" panose="020B0604020202020204" pitchFamily="34" charset="0"/>
              </a:defRPr>
            </a:lvl6pPr>
            <a:lvl7pPr marL="2971800" indent="-228600" defTabSz="608013" fontAlgn="base">
              <a:spcBef>
                <a:spcPct val="0"/>
              </a:spcBef>
              <a:spcAft>
                <a:spcPct val="0"/>
              </a:spcAft>
              <a:defRPr sz="1900">
                <a:solidFill>
                  <a:schemeClr val="tx1"/>
                </a:solidFill>
                <a:latin typeface="Arial" panose="020B0604020202020204" pitchFamily="34" charset="0"/>
              </a:defRPr>
            </a:lvl7pPr>
            <a:lvl8pPr marL="3429000" indent="-228600" defTabSz="608013" fontAlgn="base">
              <a:spcBef>
                <a:spcPct val="0"/>
              </a:spcBef>
              <a:spcAft>
                <a:spcPct val="0"/>
              </a:spcAft>
              <a:defRPr sz="1900">
                <a:solidFill>
                  <a:schemeClr val="tx1"/>
                </a:solidFill>
                <a:latin typeface="Arial" panose="020B0604020202020204" pitchFamily="34" charset="0"/>
              </a:defRPr>
            </a:lvl8pPr>
            <a:lvl9pPr marL="3886200" indent="-228600" defTabSz="608013" fontAlgn="base">
              <a:spcBef>
                <a:spcPct val="0"/>
              </a:spcBef>
              <a:spcAft>
                <a:spcPct val="0"/>
              </a:spcAft>
              <a:defRPr sz="1900">
                <a:solidFill>
                  <a:schemeClr val="tx1"/>
                </a:solidFill>
                <a:latin typeface="Arial" panose="020B0604020202020204" pitchFamily="34" charset="0"/>
              </a:defRPr>
            </a:lvl9pPr>
          </a:lstStyle>
          <a:p>
            <a:pPr algn="r" eaLnBrk="1" hangingPunct="1">
              <a:defRPr/>
            </a:pPr>
            <a:fld id="{AA6CE310-2549-4962-9B8E-C4AFC8FC6890}" type="slidenum">
              <a:rPr lang="en-US" altLang="en-US" sz="800" smtClean="0">
                <a:solidFill>
                  <a:srgbClr val="FFFFFF"/>
                </a:solidFill>
              </a:rPr>
              <a:pPr algn="r" eaLnBrk="1" hangingPunct="1">
                <a:defRPr/>
              </a:pPr>
              <a:t>‹#›</a:t>
            </a:fld>
            <a:endParaRPr lang="en-US" altLang="en-US" sz="800">
              <a:solidFill>
                <a:srgbClr val="FFFFFF"/>
              </a:solidFill>
            </a:endParaRPr>
          </a:p>
        </p:txBody>
      </p:sp>
      <p:sp>
        <p:nvSpPr>
          <p:cNvPr id="18" name="Picture Placeholder 17"/>
          <p:cNvSpPr>
            <a:spLocks noGrp="1"/>
          </p:cNvSpPr>
          <p:nvPr>
            <p:ph type="pic" sz="quarter" idx="13"/>
          </p:nvPr>
        </p:nvSpPr>
        <p:spPr>
          <a:xfrm>
            <a:off x="438875" y="1438659"/>
            <a:ext cx="11314251" cy="4998236"/>
          </a:xfrm>
          <a:prstGeom prst="rect">
            <a:avLst/>
          </a:prstGeom>
        </p:spPr>
        <p:txBody>
          <a:bodyPr vert="horz" lIns="121899" tIns="60949" rIns="121899" bIns="60949"/>
          <a:lstStyle>
            <a:lvl1pPr>
              <a:defRPr>
                <a:latin typeface="Arial" pitchFamily="34" charset="0"/>
              </a:defRPr>
            </a:lvl1pPr>
          </a:lstStyle>
          <a:p>
            <a:pPr lvl="0"/>
            <a:endParaRPr lang="en-US" noProof="0"/>
          </a:p>
        </p:txBody>
      </p:sp>
      <p:sp>
        <p:nvSpPr>
          <p:cNvPr id="5" name="Text Placeholder 15"/>
          <p:cNvSpPr>
            <a:spLocks noGrp="1"/>
          </p:cNvSpPr>
          <p:nvPr>
            <p:ph type="body" sz="quarter" idx="12"/>
          </p:nvPr>
        </p:nvSpPr>
        <p:spPr>
          <a:xfrm>
            <a:off x="426093" y="5"/>
            <a:ext cx="11327032" cy="1219199"/>
          </a:xfrm>
          <a:prstGeom prst="rect">
            <a:avLst/>
          </a:prstGeom>
        </p:spPr>
        <p:txBody>
          <a:bodyPr vert="horz" lIns="121899" tIns="60949" rIns="121899" bIns="60949" anchor="b">
            <a:noAutofit/>
          </a:bodyPr>
          <a:lstStyle>
            <a:lvl1pPr marL="0" indent="0" algn="ctr">
              <a:spcBef>
                <a:spcPts val="0"/>
              </a:spcBef>
              <a:spcAft>
                <a:spcPts val="667"/>
              </a:spcAft>
              <a:buFontTx/>
              <a:buNone/>
              <a:defRPr sz="3199" baseline="0">
                <a:solidFill>
                  <a:schemeClr val="bg1"/>
                </a:solidFill>
                <a:latin typeface="Arial" pitchFamily="34" charset="0"/>
                <a:cs typeface="Arial" pitchFamily="34" charset="0"/>
              </a:defRPr>
            </a:lvl1pPr>
            <a:lvl2pPr marL="0" indent="0" algn="ctr">
              <a:lnSpc>
                <a:spcPct val="100000"/>
              </a:lnSpc>
              <a:spcBef>
                <a:spcPts val="400"/>
              </a:spcBef>
              <a:spcAft>
                <a:spcPts val="0"/>
              </a:spcAft>
              <a:buFontTx/>
              <a:buNone/>
              <a:defRPr sz="1700">
                <a:solidFill>
                  <a:schemeClr val="bg1"/>
                </a:solidFill>
                <a:latin typeface="SEOptimistBlack"/>
                <a:cs typeface="SEOptimistBlack"/>
              </a:defRPr>
            </a:lvl2pPr>
            <a:lvl3pPr marL="0" indent="0" algn="ctr">
              <a:lnSpc>
                <a:spcPct val="100000"/>
              </a:lnSpc>
              <a:spcBef>
                <a:spcPts val="400"/>
              </a:spcBef>
              <a:spcAft>
                <a:spcPts val="533"/>
              </a:spcAft>
              <a:buFontTx/>
              <a:buNone/>
              <a:defRPr sz="1700" baseline="0">
                <a:solidFill>
                  <a:schemeClr val="bg1"/>
                </a:solidFill>
                <a:latin typeface="SEOptimistLight"/>
                <a:cs typeface="SEOptimistLight"/>
              </a:defRPr>
            </a:lvl3pPr>
            <a:lvl4pPr marL="0" indent="0" algn="ctr">
              <a:lnSpc>
                <a:spcPct val="130000"/>
              </a:lnSpc>
              <a:spcBef>
                <a:spcPts val="400"/>
              </a:spcBef>
              <a:spcAft>
                <a:spcPts val="0"/>
              </a:spcAft>
              <a:buFontTx/>
              <a:buNone/>
              <a:defRPr sz="1700">
                <a:solidFill>
                  <a:schemeClr val="bg1"/>
                </a:solidFill>
                <a:latin typeface="SEOptimistBlack"/>
                <a:cs typeface="SEOptimistBlack"/>
              </a:defRPr>
            </a:lvl4pPr>
            <a:lvl5pPr marL="0" indent="0" algn="ctr">
              <a:lnSpc>
                <a:spcPct val="100000"/>
              </a:lnSpc>
              <a:spcBef>
                <a:spcPts val="400"/>
              </a:spcBef>
              <a:spcAft>
                <a:spcPts val="533"/>
              </a:spcAft>
              <a:buFontTx/>
              <a:buNone/>
              <a:defRPr sz="1700">
                <a:solidFill>
                  <a:schemeClr val="bg1"/>
                </a:solidFill>
                <a:latin typeface="SEOptimistLight"/>
                <a:cs typeface="SEOptimistLight"/>
              </a:defRPr>
            </a:lvl5pPr>
          </a:lstStyle>
          <a:p>
            <a:pPr lvl="0"/>
            <a:r>
              <a:rPr lang="en-US"/>
              <a:t>Click to edit Master text styles</a:t>
            </a:r>
          </a:p>
        </p:txBody>
      </p:sp>
    </p:spTree>
    <p:extLst>
      <p:ext uri="{BB962C8B-B14F-4D97-AF65-F5344CB8AC3E}">
        <p14:creationId xmlns:p14="http://schemas.microsoft.com/office/powerpoint/2010/main" val="33108680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5" name="Rectangle 4"/>
          <p:cNvSpPr/>
          <p:nvPr userDrawn="1"/>
        </p:nvSpPr>
        <p:spPr>
          <a:xfrm>
            <a:off x="6096000" y="0"/>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prstClr val="white"/>
              </a:solidFill>
            </a:endParaRPr>
          </a:p>
        </p:txBody>
      </p:sp>
      <p:sp>
        <p:nvSpPr>
          <p:cNvPr id="6" name="TextBox 5"/>
          <p:cNvSpPr txBox="1">
            <a:spLocks noChangeArrowheads="1"/>
          </p:cNvSpPr>
          <p:nvPr userDrawn="1"/>
        </p:nvSpPr>
        <p:spPr bwMode="auto">
          <a:xfrm>
            <a:off x="608173" y="6345955"/>
            <a:ext cx="28407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800">
                <a:solidFill>
                  <a:srgbClr val="FFFFFF"/>
                </a:solidFill>
              </a:rPr>
              <a:t>Confidential Property of Schneider Electric</a:t>
            </a:r>
          </a:p>
        </p:txBody>
      </p:sp>
      <p:sp>
        <p:nvSpPr>
          <p:cNvPr id="7" name="Slide Number Placeholder 3"/>
          <p:cNvSpPr txBox="1">
            <a:spLocks/>
          </p:cNvSpPr>
          <p:nvPr userDrawn="1"/>
        </p:nvSpPr>
        <p:spPr>
          <a:xfrm>
            <a:off x="11185263" y="6284398"/>
            <a:ext cx="396979" cy="184666"/>
          </a:xfrm>
          <a:prstGeom prst="rect">
            <a:avLst/>
          </a:prstGeom>
        </p:spPr>
        <p:txBody>
          <a:bodyPr lIns="0" tIns="0" rIns="0" bIns="0" anchor="b">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fontAlgn="base">
              <a:spcBef>
                <a:spcPct val="0"/>
              </a:spcBef>
              <a:spcAft>
                <a:spcPct val="0"/>
              </a:spcAft>
              <a:defRPr sz="1900">
                <a:solidFill>
                  <a:schemeClr val="tx1"/>
                </a:solidFill>
                <a:latin typeface="Arial" panose="020B0604020202020204" pitchFamily="34" charset="0"/>
              </a:defRPr>
            </a:lvl6pPr>
            <a:lvl7pPr marL="2971800" indent="-228600" fontAlgn="base">
              <a:spcBef>
                <a:spcPct val="0"/>
              </a:spcBef>
              <a:spcAft>
                <a:spcPct val="0"/>
              </a:spcAft>
              <a:defRPr sz="1900">
                <a:solidFill>
                  <a:schemeClr val="tx1"/>
                </a:solidFill>
                <a:latin typeface="Arial" panose="020B0604020202020204" pitchFamily="34" charset="0"/>
              </a:defRPr>
            </a:lvl7pPr>
            <a:lvl8pPr marL="3429000" indent="-228600" fontAlgn="base">
              <a:spcBef>
                <a:spcPct val="0"/>
              </a:spcBef>
              <a:spcAft>
                <a:spcPct val="0"/>
              </a:spcAft>
              <a:defRPr sz="1900">
                <a:solidFill>
                  <a:schemeClr val="tx1"/>
                </a:solidFill>
                <a:latin typeface="Arial" panose="020B0604020202020204" pitchFamily="34" charset="0"/>
              </a:defRPr>
            </a:lvl8pPr>
            <a:lvl9pPr marL="3886200" indent="-228600" fontAlgn="base">
              <a:spcBef>
                <a:spcPct val="0"/>
              </a:spcBef>
              <a:spcAft>
                <a:spcPct val="0"/>
              </a:spcAft>
              <a:defRPr sz="1900">
                <a:solidFill>
                  <a:schemeClr val="tx1"/>
                </a:solidFill>
                <a:latin typeface="Arial" panose="020B0604020202020204" pitchFamily="34" charset="0"/>
              </a:defRPr>
            </a:lvl9pPr>
          </a:lstStyle>
          <a:p>
            <a:pPr algn="r" eaLnBrk="1" hangingPunct="1">
              <a:defRPr/>
            </a:pPr>
            <a:fld id="{F66C6A30-1738-4274-B989-C6DF5831C227}" type="slidenum">
              <a:rPr lang="en-US" altLang="en-US" sz="1200" smtClean="0">
                <a:solidFill>
                  <a:srgbClr val="626469"/>
                </a:solidFill>
                <a:ea typeface="ＭＳ Ｐゴシック" panose="020B0600070205080204" pitchFamily="34" charset="-128"/>
              </a:rPr>
              <a:pPr algn="r" eaLnBrk="1" hangingPunct="1">
                <a:defRPr/>
              </a:pPr>
              <a:t>‹#›</a:t>
            </a:fld>
            <a:endParaRPr lang="en-US" altLang="en-US" sz="1200">
              <a:solidFill>
                <a:srgbClr val="626469"/>
              </a:solidFill>
              <a:ea typeface="ＭＳ Ｐゴシック" panose="020B0600070205080204" pitchFamily="34" charset="-128"/>
            </a:endParaRPr>
          </a:p>
        </p:txBody>
      </p:sp>
      <p:sp>
        <p:nvSpPr>
          <p:cNvPr id="15" name="Content Placeholder 14"/>
          <p:cNvSpPr>
            <a:spLocks noGrp="1"/>
          </p:cNvSpPr>
          <p:nvPr>
            <p:ph sz="quarter" idx="12"/>
          </p:nvPr>
        </p:nvSpPr>
        <p:spPr>
          <a:xfrm>
            <a:off x="6096000" y="0"/>
            <a:ext cx="6096000" cy="6858000"/>
          </a:xfrm>
        </p:spPr>
        <p:txBody>
          <a:bodyPr lIns="274320" tIns="1691640" anchor="t" anchorCtr="0"/>
          <a:lstStyle>
            <a:lvl1pPr>
              <a:buClr>
                <a:srgbClr val="009530"/>
              </a:buClr>
              <a:buFont typeface="Arial" pitchFamily="34" charset="0"/>
              <a:buChar char="&gt;"/>
              <a:defRPr sz="2000">
                <a:solidFill>
                  <a:srgbClr val="009530"/>
                </a:solidFill>
              </a:defRPr>
            </a:lvl1pPr>
            <a:lvl2pPr marL="461835" indent="-222189">
              <a:buClr>
                <a:srgbClr val="626469"/>
              </a:buClr>
              <a:buFont typeface="SE Rounded Medium" pitchFamily="50" charset="0"/>
              <a:buChar char="&gt;"/>
              <a:defRPr sz="1800">
                <a:solidFill>
                  <a:srgbClr val="626469"/>
                </a:solidFill>
              </a:defRPr>
            </a:lvl2pPr>
            <a:lvl3pPr marL="685612" marR="0" indent="-217429" algn="l" defTabSz="914148"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600">
                <a:solidFill>
                  <a:srgbClr val="626469"/>
                </a:solidFill>
              </a:defRPr>
            </a:lvl3pPr>
            <a:lvl4pPr marL="914148" indent="-228537">
              <a:buClr>
                <a:srgbClr val="626469"/>
              </a:buClr>
              <a:buFont typeface="Arial" pitchFamily="34" charset="0"/>
              <a:buChar char="-"/>
              <a:tabLst>
                <a:tab pos="914148" algn="l"/>
              </a:tabLst>
              <a:defRPr sz="1400">
                <a:solidFill>
                  <a:srgbClr val="626469"/>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p:cNvSpPr>
            <a:spLocks noGrp="1"/>
          </p:cNvSpPr>
          <p:nvPr>
            <p:ph type="body" sz="quarter" idx="14"/>
          </p:nvPr>
        </p:nvSpPr>
        <p:spPr>
          <a:xfrm>
            <a:off x="608172" y="1630365"/>
            <a:ext cx="5187713" cy="4421187"/>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itle 10"/>
          <p:cNvSpPr>
            <a:spLocks noGrp="1"/>
          </p:cNvSpPr>
          <p:nvPr>
            <p:ph type="title"/>
          </p:nvPr>
        </p:nvSpPr>
        <p:spPr>
          <a:xfrm>
            <a:off x="608172" y="261940"/>
            <a:ext cx="5187713" cy="1271587"/>
          </a:xfrm>
        </p:spPr>
        <p:txBody>
          <a:bodyPr/>
          <a:lstStyle>
            <a:lvl1pPr algn="l">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739199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2" name="Picture 1" descr="schneider_LIO_White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91902" y="2611439"/>
            <a:ext cx="4746273"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7895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CA"/>
          </a:p>
        </p:txBody>
      </p:sp>
      <p:sp>
        <p:nvSpPr>
          <p:cNvPr id="4" name="Footer Placeholder 3"/>
          <p:cNvSpPr>
            <a:spLocks noGrp="1"/>
          </p:cNvSpPr>
          <p:nvPr>
            <p:ph type="ftr" sz="quarter" idx="11"/>
          </p:nvPr>
        </p:nvSpPr>
        <p:spPr/>
        <p:txBody>
          <a:bodyPr/>
          <a:lstStyle/>
          <a:p>
            <a:pPr>
              <a:defRPr/>
            </a:pPr>
            <a:endParaRPr lang="en-CA"/>
          </a:p>
        </p:txBody>
      </p:sp>
      <p:sp>
        <p:nvSpPr>
          <p:cNvPr id="5" name="Slide Number Placeholder 4"/>
          <p:cNvSpPr>
            <a:spLocks noGrp="1"/>
          </p:cNvSpPr>
          <p:nvPr>
            <p:ph type="sldNum" sz="quarter" idx="12"/>
          </p:nvPr>
        </p:nvSpPr>
        <p:spPr/>
        <p:txBody>
          <a:bodyPr/>
          <a:lstStyle/>
          <a:p>
            <a:pPr>
              <a:defRPr/>
            </a:pPr>
            <a:fld id="{57DFCEE1-D6A8-4A41-9685-886E6BA809C2}" type="slidenum">
              <a:rPr lang="en-CA" smtClean="0"/>
              <a:pPr>
                <a:defRPr/>
              </a:pPr>
              <a:t>‹#›</a:t>
            </a:fld>
            <a:endParaRPr lang="en-CA"/>
          </a:p>
        </p:txBody>
      </p:sp>
      <p:pic>
        <p:nvPicPr>
          <p:cNvPr id="6" name="Picture 5" descr="schneider_LIO_Life-Green_RGB.png">
            <a:extLst>
              <a:ext uri="{FF2B5EF4-FFF2-40B4-BE49-F238E27FC236}">
                <a16:creationId xmlns:a16="http://schemas.microsoft.com/office/drawing/2014/main" id="{08834B01-8822-67E2-0D3D-3AF27A302C69}"/>
              </a:ext>
            </a:extLst>
          </p:cNvPr>
          <p:cNvPicPr>
            <a:picLocks noChangeAspect="1"/>
          </p:cNvPicPr>
          <p:nvPr userDrawn="1"/>
        </p:nvPicPr>
        <p:blipFill>
          <a:blip r:embed="rId2" cstate="screen"/>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30285607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7"/>
            <a:ext cx="5563541" cy="36147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1"/>
          <p:cNvSpPr>
            <a:spLocks noGrp="1"/>
          </p:cNvSpPr>
          <p:nvPr>
            <p:ph type="body" sz="quarter" idx="13" hasCustomPrompt="1"/>
          </p:nvPr>
        </p:nvSpPr>
        <p:spPr>
          <a:xfrm>
            <a:off x="6388101" y="5421739"/>
            <a:ext cx="5467352" cy="164148"/>
          </a:xfrm>
          <a:prstGeom prst="rect">
            <a:avLst/>
          </a:prstGeom>
        </p:spPr>
        <p:txBody>
          <a:bodyPr lIns="0" tIns="0" rIns="0" bIns="0" anchor="b" anchorCtr="0">
            <a:noAutofit/>
          </a:bodyPr>
          <a:lstStyle>
            <a:lvl1pPr marL="21154" indent="0">
              <a:buNone/>
              <a:defRPr sz="1067"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336552" y="5421739"/>
            <a:ext cx="5571064" cy="164148"/>
          </a:xfrm>
          <a:prstGeom prst="rect">
            <a:avLst/>
          </a:prstGeom>
        </p:spPr>
        <p:txBody>
          <a:bodyPr lIns="0" tIns="0" rIns="0" bIns="0" anchor="b" anchorCtr="0">
            <a:noAutofit/>
          </a:bodyPr>
          <a:lstStyle>
            <a:lvl1pPr marL="21154"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330063" y="1612398"/>
            <a:ext cx="5563541" cy="36147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336553"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336551"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336551" y="911157"/>
            <a:ext cx="11529483" cy="338555"/>
          </a:xfrm>
        </p:spPr>
        <p:txBody>
          <a:bodyPr>
            <a:noAutofit/>
          </a:bodyPr>
          <a:lstStyle>
            <a:lvl1pPr marL="478099" indent="-456945">
              <a:buFontTx/>
              <a:buNone/>
              <a:defRPr sz="2133" baseline="0">
                <a:solidFill>
                  <a:schemeClr val="accent1"/>
                </a:solidFill>
              </a:defRPr>
            </a:lvl1pPr>
            <a:lvl2pPr marL="543678" indent="-304630">
              <a:buFontTx/>
              <a:buNone/>
              <a:defRPr/>
            </a:lvl2pPr>
            <a:lvl3pPr marL="782727" indent="-304630">
              <a:buFontTx/>
              <a:buNone/>
              <a:defRPr/>
            </a:lvl3pPr>
            <a:lvl4pPr marL="1023893" indent="-304630">
              <a:buFontTx/>
              <a:buNone/>
              <a:defRPr/>
            </a:lvl4pPr>
            <a:lvl5pPr marL="1252365" indent="-304630">
              <a:buFontTx/>
              <a:buNone/>
              <a:defRPr/>
            </a:lvl5pPr>
          </a:lstStyle>
          <a:p>
            <a:pPr lvl="0"/>
            <a:r>
              <a:rPr lang="en-US"/>
              <a:t>Click to edit Master text styles</a:t>
            </a:r>
          </a:p>
        </p:txBody>
      </p:sp>
      <p:pic>
        <p:nvPicPr>
          <p:cNvPr id="2" name="Picture 1" descr="schneider_LIO_Life-Green_RGB.png">
            <a:extLst>
              <a:ext uri="{FF2B5EF4-FFF2-40B4-BE49-F238E27FC236}">
                <a16:creationId xmlns:a16="http://schemas.microsoft.com/office/drawing/2014/main" id="{6499976D-B70E-2883-6005-B0AD223DA035}"/>
              </a:ext>
            </a:extLst>
          </p:cNvPr>
          <p:cNvPicPr>
            <a:picLocks noChangeAspect="1"/>
          </p:cNvPicPr>
          <p:nvPr userDrawn="1"/>
        </p:nvPicPr>
        <p:blipFill>
          <a:blip r:embed="rId2" cstate="screen"/>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36224650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164BE98-4EDD-47BF-849F-02B421719CB1}"/>
              </a:ext>
            </a:extLst>
          </p:cNvPr>
          <p:cNvSpPr>
            <a:spLocks noGrp="1"/>
          </p:cNvSpPr>
          <p:nvPr>
            <p:ph type="title" hasCustomPrompt="1"/>
          </p:nvPr>
        </p:nvSpPr>
        <p:spPr>
          <a:xfrm>
            <a:off x="457324" y="463299"/>
            <a:ext cx="11308561" cy="584647"/>
          </a:xfrm>
          <a:prstGeom prst="rect">
            <a:avLst/>
          </a:prstGeom>
        </p:spPr>
        <p:txBody>
          <a:bodyPr wrap="square">
            <a:spAutoFit/>
          </a:bodyPr>
          <a:lstStyle>
            <a:lvl1pPr>
              <a:defRPr sz="3199">
                <a:solidFill>
                  <a:schemeClr val="tx1">
                    <a:lumMod val="75000"/>
                    <a:lumOff val="25000"/>
                  </a:schemeClr>
                </a:solidFill>
              </a:defRPr>
            </a:lvl1pPr>
          </a:lstStyle>
          <a:p>
            <a:r>
              <a:rPr lang="en-US"/>
              <a:t>Click to Edit Master Title Style</a:t>
            </a:r>
          </a:p>
        </p:txBody>
      </p:sp>
      <p:sp>
        <p:nvSpPr>
          <p:cNvPr id="16" name="Text Placeholder 2">
            <a:extLst>
              <a:ext uri="{FF2B5EF4-FFF2-40B4-BE49-F238E27FC236}">
                <a16:creationId xmlns:a16="http://schemas.microsoft.com/office/drawing/2014/main" id="{BF87657A-237B-44F5-A067-52D17A56370C}"/>
              </a:ext>
            </a:extLst>
          </p:cNvPr>
          <p:cNvSpPr>
            <a:spLocks noGrp="1"/>
          </p:cNvSpPr>
          <p:nvPr>
            <p:ph type="body" idx="15" hasCustomPrompt="1"/>
          </p:nvPr>
        </p:nvSpPr>
        <p:spPr>
          <a:xfrm>
            <a:off x="457324" y="975366"/>
            <a:ext cx="11308561" cy="276999"/>
          </a:xfrm>
          <a:prstGeom prst="rect">
            <a:avLst/>
          </a:prstGeom>
        </p:spPr>
        <p:txBody>
          <a:bodyPr wrap="square" lIns="0" tIns="0" rIns="0" bIns="0" anchor="t">
            <a:spAutoFit/>
          </a:bodyPr>
          <a:lstStyle>
            <a:lvl1pPr marL="0" indent="0">
              <a:spcBef>
                <a:spcPts val="0"/>
              </a:spcBef>
              <a:spcAft>
                <a:spcPts val="0"/>
              </a:spcAft>
              <a:buNone/>
              <a:defRPr sz="1800" b="0" baseline="0">
                <a:solidFill>
                  <a:schemeClr val="accent1"/>
                </a:solidFill>
              </a:defRPr>
            </a:lvl1pPr>
            <a:lvl2pPr marL="457041" indent="0">
              <a:buNone/>
              <a:defRPr sz="2000" b="1"/>
            </a:lvl2pPr>
            <a:lvl3pPr marL="914082" indent="0">
              <a:buNone/>
              <a:defRPr sz="1800" b="1"/>
            </a:lvl3pPr>
            <a:lvl4pPr marL="1371122" indent="0">
              <a:buNone/>
              <a:defRPr sz="1600" b="1"/>
            </a:lvl4pPr>
            <a:lvl5pPr marL="1828161" indent="0">
              <a:buNone/>
              <a:defRPr sz="1600" b="1"/>
            </a:lvl5pPr>
            <a:lvl6pPr marL="2285202" indent="0">
              <a:buNone/>
              <a:defRPr sz="1600" b="1"/>
            </a:lvl6pPr>
            <a:lvl7pPr marL="2742241" indent="0">
              <a:buNone/>
              <a:defRPr sz="1600" b="1"/>
            </a:lvl7pPr>
            <a:lvl8pPr marL="3199280" indent="0">
              <a:buNone/>
              <a:defRPr sz="1600" b="1"/>
            </a:lvl8pPr>
            <a:lvl9pPr marL="3656321" indent="0">
              <a:buNone/>
              <a:defRPr sz="1600" b="1"/>
            </a:lvl9pPr>
          </a:lstStyle>
          <a:p>
            <a:pPr lvl="0"/>
            <a:r>
              <a:rPr lang="en-US"/>
              <a:t>Click To Edit Master Text Styles</a:t>
            </a:r>
          </a:p>
        </p:txBody>
      </p:sp>
      <p:sp>
        <p:nvSpPr>
          <p:cNvPr id="6" name="Slide Number Placeholder 5">
            <a:extLst>
              <a:ext uri="{FF2B5EF4-FFF2-40B4-BE49-F238E27FC236}">
                <a16:creationId xmlns:a16="http://schemas.microsoft.com/office/drawing/2014/main" id="{D1DDE2FD-2535-4C2D-95F6-B170FB06C7AA}"/>
              </a:ext>
            </a:extLst>
          </p:cNvPr>
          <p:cNvSpPr>
            <a:spLocks noGrp="1"/>
          </p:cNvSpPr>
          <p:nvPr>
            <p:ph type="sldNum" sz="quarter" idx="4"/>
          </p:nvPr>
        </p:nvSpPr>
        <p:spPr>
          <a:xfrm>
            <a:off x="2366944" y="6491600"/>
            <a:ext cx="700920" cy="92333"/>
          </a:xfrm>
          <a:prstGeom prst="rect">
            <a:avLst/>
          </a:prstGeom>
        </p:spPr>
        <p:txBody>
          <a:bodyPr vert="horz" lIns="0" tIns="0" rIns="0" bIns="0" rtlCol="0" anchor="ctr">
            <a:spAutoFit/>
          </a:bodyPr>
          <a:lstStyle>
            <a:lvl1pPr algn="l">
              <a:defRPr sz="600">
                <a:solidFill>
                  <a:schemeClr val="tx1">
                    <a:lumMod val="50000"/>
                    <a:lumOff val="50000"/>
                  </a:schemeClr>
                </a:solidFill>
                <a:latin typeface="Arial"/>
                <a:cs typeface="Arial"/>
              </a:defRPr>
            </a:lvl1pPr>
          </a:lstStyle>
          <a:p>
            <a:r>
              <a:rPr lang="en-US"/>
              <a:t>Page </a:t>
            </a:r>
            <a:fld id="{5A9C12DC-491F-9444-86A2-13AC5C62A2FC}" type="slidenum">
              <a:rPr lang="en-US" smtClean="0"/>
              <a:pPr/>
              <a:t>‹#›</a:t>
            </a:fld>
            <a:endParaRPr lang="en-US"/>
          </a:p>
        </p:txBody>
      </p:sp>
      <p:sp>
        <p:nvSpPr>
          <p:cNvPr id="7" name="Footer Placeholder 4">
            <a:extLst>
              <a:ext uri="{FF2B5EF4-FFF2-40B4-BE49-F238E27FC236}">
                <a16:creationId xmlns:a16="http://schemas.microsoft.com/office/drawing/2014/main" id="{A9D7BBE2-F20B-4EA1-8C87-08749EA8B0C0}"/>
              </a:ext>
            </a:extLst>
          </p:cNvPr>
          <p:cNvSpPr>
            <a:spLocks noGrp="1"/>
          </p:cNvSpPr>
          <p:nvPr>
            <p:ph type="ftr" sz="quarter" idx="3"/>
          </p:nvPr>
        </p:nvSpPr>
        <p:spPr>
          <a:xfrm>
            <a:off x="336556" y="6491600"/>
            <a:ext cx="2144400" cy="92333"/>
          </a:xfrm>
          <a:prstGeom prst="rect">
            <a:avLst/>
          </a:prstGeom>
        </p:spPr>
        <p:txBody>
          <a:bodyPr vert="horz" wrap="square" lIns="0" tIns="0" rIns="0" bIns="0" rtlCol="0" anchor="ctr">
            <a:spAutoFit/>
          </a:bodyPr>
          <a:lstStyle>
            <a:lvl1pPr algn="l">
              <a:defRPr lang="en-HK" sz="600" b="0" i="0" smtClean="0">
                <a:solidFill>
                  <a:schemeClr val="tx1">
                    <a:lumMod val="50000"/>
                    <a:lumOff val="50000"/>
                  </a:schemeClr>
                </a:solidFill>
                <a:effectLst/>
              </a:defRPr>
            </a:lvl1pPr>
          </a:lstStyle>
          <a:p>
            <a:r>
              <a:rPr lang="en-US"/>
              <a:t>2021 Planon and Schneider Electric. All Rights Reserved. |</a:t>
            </a:r>
          </a:p>
        </p:txBody>
      </p:sp>
    </p:spTree>
    <p:extLst>
      <p:ext uri="{BB962C8B-B14F-4D97-AF65-F5344CB8AC3E}">
        <p14:creationId xmlns:p14="http://schemas.microsoft.com/office/powerpoint/2010/main" val="3329736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553"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553"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9422712" y="5993330"/>
            <a:ext cx="2722397" cy="750604"/>
          </a:xfrm>
          <a:prstGeom prst="rect">
            <a:avLst/>
          </a:prstGeom>
        </p:spPr>
      </p:pic>
      <p:sp>
        <p:nvSpPr>
          <p:cNvPr id="14" name="Footer Placeholder 4"/>
          <p:cNvSpPr>
            <a:spLocks noGrp="1"/>
          </p:cNvSpPr>
          <p:nvPr>
            <p:ph type="ftr" sz="quarter" idx="3"/>
          </p:nvPr>
        </p:nvSpPr>
        <p:spPr>
          <a:xfrm>
            <a:off x="336554" y="6476207"/>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4764839"/>
            <a:ext cx="12192000" cy="1015853"/>
          </a:xfrm>
          <a:prstGeom prst="rect">
            <a:avLst/>
          </a:prstGeom>
          <a:solidFill>
            <a:schemeClr val="tx2">
              <a:alpha val="80000"/>
            </a:schemeClr>
          </a:solidFill>
        </p:spPr>
        <p:txBody>
          <a:bodyPr lIns="91437" tIns="45718" rIns="91437" bIns="45718"/>
          <a:lstStyle>
            <a:lvl1pPr marL="237726"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dirty="0"/>
          </a:p>
        </p:txBody>
      </p:sp>
    </p:spTree>
    <p:extLst>
      <p:ext uri="{BB962C8B-B14F-4D97-AF65-F5344CB8AC3E}">
        <p14:creationId xmlns:p14="http://schemas.microsoft.com/office/powerpoint/2010/main" val="324732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92000" cy="3878280"/>
          </a:xfrm>
          <a:prstGeom prst="rect">
            <a:avLst/>
          </a:prstGeom>
          <a:solidFill>
            <a:schemeClr val="tx2">
              <a:alpha val="80000"/>
            </a:schemeClr>
          </a:solidFill>
        </p:spPr>
        <p:txBody>
          <a:bodyPr lIns="252000" tIns="0" rIns="0" bIns="252000" anchor="b" anchorCtr="0"/>
          <a:lstStyle>
            <a:lvl1pPr algn="l">
              <a:defRPr sz="32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426903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347448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92000"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2641745"/>
            <a:ext cx="12192000" cy="4216255"/>
          </a:xfrm>
          <a:prstGeom prst="rect">
            <a:avLst/>
          </a:prstGeom>
          <a:solidFill>
            <a:schemeClr val="tx2"/>
          </a:solidFill>
        </p:spPr>
        <p:txBody>
          <a:bodyPr lIns="252000" tIns="252000" rIns="252000" bIns="252000" anchor="t" anchorCtr="0"/>
          <a:lstStyle>
            <a:lvl1pPr algn="l">
              <a:defRPr sz="32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2144328"/>
            <a:ext cx="12192000"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9433405" y="6011367"/>
            <a:ext cx="2691609" cy="742115"/>
          </a:xfrm>
          <a:prstGeom prst="rect">
            <a:avLst/>
          </a:prstGeom>
        </p:spPr>
      </p:pic>
    </p:spTree>
    <p:extLst>
      <p:ext uri="{BB962C8B-B14F-4D97-AF65-F5344CB8AC3E}">
        <p14:creationId xmlns:p14="http://schemas.microsoft.com/office/powerpoint/2010/main" val="97090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4" y="-2"/>
            <a:ext cx="6104468"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dirty="0"/>
              <a:t>Insert Your Content Here</a:t>
            </a:r>
          </a:p>
        </p:txBody>
      </p:sp>
      <p:sp>
        <p:nvSpPr>
          <p:cNvPr id="15" name="Rectangle 14"/>
          <p:cNvSpPr/>
          <p:nvPr userDrawn="1"/>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6" name="Content Placeholder 12"/>
          <p:cNvSpPr>
            <a:spLocks noGrp="1"/>
          </p:cNvSpPr>
          <p:nvPr>
            <p:ph sz="quarter" idx="1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a:solidFill>
                  <a:schemeClr val="bg1"/>
                </a:solidFill>
              </a:defRPr>
            </a:lvl1pPr>
            <a:lvl2pPr marL="590536" indent="-353475">
              <a:buFont typeface="Arial"/>
              <a:buChar char="•"/>
              <a:defRPr sz="2667">
                <a:solidFill>
                  <a:schemeClr val="bg1"/>
                </a:solidFill>
              </a:defRPr>
            </a:lvl2pPr>
            <a:lvl3pPr marL="944010" indent="-304792">
              <a:buFont typeface="Lucida Grande"/>
              <a:buChar char="–"/>
              <a:defRPr sz="2400">
                <a:solidFill>
                  <a:schemeClr val="bg1"/>
                </a:solidFill>
              </a:defRPr>
            </a:lvl3pPr>
            <a:lvl4pPr marL="1301718" indent="-304792">
              <a:buFont typeface="Lucida Grande"/>
              <a:buChar char="–"/>
              <a:defRPr sz="2133">
                <a:solidFill>
                  <a:schemeClr val="bg1"/>
                </a:solidFill>
              </a:defRPr>
            </a:lvl4pPr>
            <a:lvl5pPr marL="1678475" indent="-309026" defTabSz="419090">
              <a:buFont typeface="Lucida Grande"/>
              <a:buChar char="–"/>
              <a:defRPr sz="2133">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158023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6" name="Content Placeholder 12"/>
          <p:cNvSpPr>
            <a:spLocks noGrp="1"/>
          </p:cNvSpPr>
          <p:nvPr>
            <p:ph sz="quarter" idx="11" hasCustomPrompt="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baseline="0">
                <a:solidFill>
                  <a:schemeClr val="bg1"/>
                </a:solidFill>
              </a:defRPr>
            </a:lvl1pPr>
            <a:lvl2pPr marL="590536" indent="-353475">
              <a:buFont typeface="Arial"/>
              <a:buChar char="•"/>
              <a:defRPr sz="2667">
                <a:solidFill>
                  <a:schemeClr val="bg1"/>
                </a:solidFill>
              </a:defRPr>
            </a:lvl2pPr>
            <a:lvl3pPr marL="944010" indent="-304792">
              <a:buFont typeface="Lucida Grande"/>
              <a:buChar char="–"/>
              <a:defRPr sz="2400">
                <a:solidFill>
                  <a:schemeClr val="bg1"/>
                </a:solidFill>
              </a:defRPr>
            </a:lvl3pPr>
            <a:lvl4pPr marL="1301718" indent="-304792">
              <a:buFont typeface="Lucida Grande"/>
              <a:buChar char="–"/>
              <a:defRPr sz="2133">
                <a:solidFill>
                  <a:schemeClr val="bg1"/>
                </a:solidFill>
              </a:defRPr>
            </a:lvl4pPr>
            <a:lvl5pPr marL="1678475" indent="-309026" defTabSz="419090">
              <a:buFont typeface="Lucida Grande"/>
              <a:buChar char="–"/>
              <a:defRPr sz="2133">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
        <p:nvSpPr>
          <p:cNvPr id="10" name="Rechteck 7"/>
          <p:cNvSpPr/>
          <p:nvPr userDrawn="1"/>
        </p:nvSpPr>
        <p:spPr>
          <a:xfrm>
            <a:off x="6709412"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7488357"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endParaRPr lang="en-US" sz="1733" b="1" dirty="0">
              <a:solidFill>
                <a:schemeClr val="accent1"/>
              </a:solidFill>
              <a:latin typeface="+mn-lt"/>
              <a:cs typeface="Arial" pitchFamily="34" charset="0"/>
            </a:endParaRPr>
          </a:p>
        </p:txBody>
      </p:sp>
      <p:sp>
        <p:nvSpPr>
          <p:cNvPr id="12" name="Rechteck 10"/>
          <p:cNvSpPr/>
          <p:nvPr userDrawn="1"/>
        </p:nvSpPr>
        <p:spPr>
          <a:xfrm>
            <a:off x="670505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749889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31" name="Rechteck 10"/>
          <p:cNvSpPr/>
          <p:nvPr userDrawn="1"/>
        </p:nvSpPr>
        <p:spPr>
          <a:xfrm>
            <a:off x="670505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749889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45" name="Rechteck 10"/>
          <p:cNvSpPr/>
          <p:nvPr userDrawn="1"/>
        </p:nvSpPr>
        <p:spPr>
          <a:xfrm>
            <a:off x="670505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749889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47" name="Rechteck 10"/>
          <p:cNvSpPr/>
          <p:nvPr userDrawn="1"/>
        </p:nvSpPr>
        <p:spPr>
          <a:xfrm>
            <a:off x="670505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749889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49" name="Rechteck 10"/>
          <p:cNvSpPr/>
          <p:nvPr userDrawn="1"/>
        </p:nvSpPr>
        <p:spPr>
          <a:xfrm>
            <a:off x="670505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749889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51" name="Rechteck 10"/>
          <p:cNvSpPr/>
          <p:nvPr userDrawn="1"/>
        </p:nvSpPr>
        <p:spPr>
          <a:xfrm>
            <a:off x="670505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749889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55" name="Rechteck 10"/>
          <p:cNvSpPr/>
          <p:nvPr userDrawn="1"/>
        </p:nvSpPr>
        <p:spPr>
          <a:xfrm>
            <a:off x="670505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749889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6672134" y="509517"/>
            <a:ext cx="679461" cy="280855"/>
          </a:xfrm>
          <a:prstGeom prst="rect">
            <a:avLst/>
          </a:prstGeom>
        </p:spPr>
        <p:txBody>
          <a:bodyPr anchor="ctr"/>
          <a:lstStyle>
            <a:lvl1pPr algn="ctr">
              <a:buNone/>
              <a:defRPr sz="1733"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6675163" y="1167650"/>
            <a:ext cx="679461" cy="280855"/>
          </a:xfrm>
          <a:prstGeom prst="rect">
            <a:avLst/>
          </a:prstGeom>
        </p:spPr>
        <p:txBody>
          <a:bodyPr anchor="ctr"/>
          <a:lstStyle>
            <a:lvl1pPr algn="ctr">
              <a:buNone/>
              <a:defRPr sz="1733"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6659995" y="1880375"/>
            <a:ext cx="679461" cy="280855"/>
          </a:xfrm>
          <a:prstGeom prst="rect">
            <a:avLst/>
          </a:prstGeom>
        </p:spPr>
        <p:txBody>
          <a:bodyPr anchor="ctr"/>
          <a:lstStyle>
            <a:lvl1pPr algn="ctr">
              <a:buNone/>
              <a:defRPr sz="1733"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7494037" y="1898573"/>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6656966" y="2568845"/>
            <a:ext cx="679461" cy="280855"/>
          </a:xfrm>
          <a:prstGeom prst="rect">
            <a:avLst/>
          </a:prstGeom>
        </p:spPr>
        <p:txBody>
          <a:bodyPr anchor="ctr"/>
          <a:lstStyle>
            <a:lvl1pPr algn="ctr">
              <a:buNone/>
              <a:defRPr sz="1733"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7491008" y="2587042"/>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6659995" y="3226978"/>
            <a:ext cx="679461" cy="280855"/>
          </a:xfrm>
          <a:prstGeom prst="rect">
            <a:avLst/>
          </a:prstGeom>
        </p:spPr>
        <p:txBody>
          <a:bodyPr anchor="ctr"/>
          <a:lstStyle>
            <a:lvl1pPr algn="ctr">
              <a:buNone/>
              <a:defRPr sz="1733"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7494037" y="3245175"/>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6663024" y="3939703"/>
            <a:ext cx="679461" cy="280855"/>
          </a:xfrm>
          <a:prstGeom prst="rect">
            <a:avLst/>
          </a:prstGeom>
        </p:spPr>
        <p:txBody>
          <a:bodyPr anchor="ctr"/>
          <a:lstStyle>
            <a:lvl1pPr algn="ctr">
              <a:buNone/>
              <a:defRPr sz="1733"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7478869" y="3957901"/>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6644827" y="4649399"/>
            <a:ext cx="679461" cy="280855"/>
          </a:xfrm>
          <a:prstGeom prst="rect">
            <a:avLst/>
          </a:prstGeom>
        </p:spPr>
        <p:txBody>
          <a:bodyPr anchor="ctr"/>
          <a:lstStyle>
            <a:lvl1pPr algn="ctr">
              <a:buNone/>
              <a:defRPr sz="1733"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7497067" y="4667597"/>
            <a:ext cx="4194504"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6647856" y="5362125"/>
            <a:ext cx="679461" cy="280855"/>
          </a:xfrm>
          <a:prstGeom prst="rect">
            <a:avLst/>
          </a:prstGeom>
        </p:spPr>
        <p:txBody>
          <a:bodyPr anchor="ctr"/>
          <a:lstStyle>
            <a:lvl1pPr algn="ctr">
              <a:buNone/>
              <a:defRPr sz="1733"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7481899" y="5380322"/>
            <a:ext cx="4194504" cy="277820"/>
          </a:xfrm>
          <a:prstGeom prst="rect">
            <a:avLst/>
          </a:prstGeom>
        </p:spPr>
        <p:txBody>
          <a:bodyPr anchor="ctr"/>
          <a:lstStyle>
            <a:lvl1pPr>
              <a:buNone/>
              <a:defRPr sz="1733" b="1">
                <a:solidFill>
                  <a:schemeClr val="accent1"/>
                </a:solidFill>
              </a:defRPr>
            </a:lvl1pPr>
          </a:lstStyle>
          <a:p>
            <a:r>
              <a:rPr lang="en-US" dirty="0"/>
              <a:t>Edit text</a:t>
            </a:r>
          </a:p>
        </p:txBody>
      </p:sp>
    </p:spTree>
    <p:extLst>
      <p:ext uri="{BB962C8B-B14F-4D97-AF65-F5344CB8AC3E}">
        <p14:creationId xmlns:p14="http://schemas.microsoft.com/office/powerpoint/2010/main" val="73575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2" y="1"/>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551" y="1310603"/>
            <a:ext cx="4999949" cy="4558569"/>
          </a:xfrm>
          <a:prstGeom prst="rect">
            <a:avLst/>
          </a:prstGeom>
          <a:noFill/>
        </p:spPr>
        <p:txBody>
          <a:bodyPr vert="horz" wrap="square" lIns="0" tIns="0" rIns="0" bIns="0">
            <a:noAutofit/>
          </a:bodyPr>
          <a:lstStyle>
            <a:lvl1pPr marL="315376" indent="-315376">
              <a:buClr>
                <a:schemeClr val="tx2"/>
              </a:buClr>
              <a:buFont typeface="Arial" panose="020B0604020202020204" pitchFamily="34" charset="0"/>
              <a:buNone/>
              <a:defRPr sz="2400">
                <a:solidFill>
                  <a:schemeClr val="accent1"/>
                </a:solidFill>
              </a:defRPr>
            </a:lvl1pPr>
            <a:lvl2pPr marL="609585" indent="-294210">
              <a:buClr>
                <a:schemeClr val="tx2"/>
              </a:buClr>
              <a:buFont typeface="Arial" panose="020B0604020202020204" pitchFamily="34" charset="0"/>
              <a:buChar char="•"/>
              <a:defRPr sz="2133">
                <a:solidFill>
                  <a:schemeClr val="accent1"/>
                </a:solidFill>
              </a:defRPr>
            </a:lvl2pPr>
            <a:lvl3pPr marL="840296" indent="-230712">
              <a:buClr>
                <a:schemeClr val="tx2"/>
              </a:buClr>
              <a:buFont typeface="Arial" panose="020B0604020202020204" pitchFamily="34" charset="0"/>
              <a:buChar char="•"/>
              <a:defRPr sz="1867">
                <a:solidFill>
                  <a:schemeClr val="accent1"/>
                </a:solidFill>
              </a:defRPr>
            </a:lvl3pPr>
            <a:lvl4pPr marL="1071007" indent="-230712">
              <a:buClr>
                <a:schemeClr val="tx2"/>
              </a:buClr>
              <a:buFont typeface="Arial" panose="020B0604020202020204" pitchFamily="34" charset="0"/>
              <a:buChar char="•"/>
              <a:defRPr sz="1867">
                <a:solidFill>
                  <a:schemeClr val="accent1"/>
                </a:solidFill>
              </a:defRPr>
            </a:lvl4pPr>
            <a:lvl5pPr marL="1303834" indent="-232828" defTabSz="419090">
              <a:buClr>
                <a:schemeClr val="tx2"/>
              </a:buClr>
              <a:buFont typeface="Arial" panose="020B0604020202020204" pitchFamily="34" charset="0"/>
              <a:buChar char="•"/>
              <a:defRPr sz="1867">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336551" y="464444"/>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23" name="Rectangle 22"/>
          <p:cNvSpPr/>
          <p:nvPr userDrawn="1"/>
        </p:nvSpPr>
        <p:spPr>
          <a:xfrm rot="5400000">
            <a:off x="2473322" y="3180292"/>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4" name="Text Placeholder 3"/>
          <p:cNvSpPr>
            <a:spLocks noGrp="1"/>
          </p:cNvSpPr>
          <p:nvPr>
            <p:ph type="body" sz="quarter" idx="14" hasCustomPrompt="1"/>
          </p:nvPr>
        </p:nvSpPr>
        <p:spPr>
          <a:xfrm>
            <a:off x="5653611" y="0"/>
            <a:ext cx="994836" cy="68580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202383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2455111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5" y="2900204"/>
            <a:ext cx="11511375" cy="492443"/>
          </a:xfrm>
          <a:prstGeom prst="rect">
            <a:avLst/>
          </a:prstGeom>
        </p:spPr>
        <p:txBody>
          <a:bodyPr lIns="0" tIns="0" rIns="0" bIns="0" anchor="ctr" anchorCtr="0">
            <a:noAutofit/>
          </a:bodyPr>
          <a:lstStyle>
            <a:lvl1pPr algn="l">
              <a:defRPr sz="32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4075" y="3512663"/>
            <a:ext cx="11511375" cy="287259"/>
          </a:xfrm>
          <a:prstGeom prst="rect">
            <a:avLst/>
          </a:prstGeom>
        </p:spPr>
        <p:txBody>
          <a:bodyPr lIns="0" tIns="0" rIns="0" bIns="0" anchor="ctr" anchorCtr="0">
            <a:noAutofit/>
          </a:bodyPr>
          <a:lstStyle>
            <a:lvl1pPr marL="0" indent="0">
              <a:buNone/>
              <a:defRPr sz="1867"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273408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867"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dirty="0"/>
              <a:t>CLICK TO EDIT QUOTE OR CALLOUT</a:t>
            </a:r>
          </a:p>
        </p:txBody>
      </p:sp>
    </p:spTree>
    <p:extLst>
      <p:ext uri="{BB962C8B-B14F-4D97-AF65-F5344CB8AC3E}">
        <p14:creationId xmlns:p14="http://schemas.microsoft.com/office/powerpoint/2010/main" val="664779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28910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45"/>
            <a:ext cx="11529483" cy="1641475"/>
          </a:xfrm>
          <a:prstGeom prst="rect">
            <a:avLst/>
          </a:prstGeom>
        </p:spPr>
        <p:txBody>
          <a:bodyPr wrap="square" lIns="0" tIns="0" rIns="0" bIns="0" anchor="t">
            <a:noAutofit/>
          </a:bodyPr>
          <a:lstStyle>
            <a:lvl1pPr marL="0" indent="0" algn="ctr">
              <a:buFont typeface="Arial"/>
              <a:buNone/>
              <a:defRPr sz="5333">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552" y="3940606"/>
            <a:ext cx="11529481" cy="410369"/>
          </a:xfrm>
          <a:prstGeom prst="rect">
            <a:avLst/>
          </a:prstGeom>
        </p:spPr>
        <p:txBody>
          <a:bodyPr wrap="square"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92985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9433405" y="6011367"/>
            <a:ext cx="2691609" cy="742115"/>
          </a:xfrm>
          <a:prstGeom prst="rect">
            <a:avLst/>
          </a:prstGeom>
        </p:spPr>
      </p:pic>
    </p:spTree>
    <p:extLst>
      <p:ext uri="{BB962C8B-B14F-4D97-AF65-F5344CB8AC3E}">
        <p14:creationId xmlns:p14="http://schemas.microsoft.com/office/powerpoint/2010/main" val="226725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9474598" y="6013413"/>
            <a:ext cx="2542673" cy="701052"/>
          </a:xfrm>
          <a:prstGeom prst="rect">
            <a:avLst/>
          </a:prstGeom>
        </p:spPr>
      </p:pic>
      <p:sp>
        <p:nvSpPr>
          <p:cNvPr id="12"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1966" tIns="0" rIns="0" bIns="0" anchor="ctr" anchorCtr="0"/>
          <a:lstStyle>
            <a:lvl1pPr algn="l">
              <a:defRPr sz="32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3867184"/>
            <a:ext cx="12192000" cy="497417"/>
          </a:xfrm>
          <a:prstGeom prst="rect">
            <a:avLst/>
          </a:prstGeom>
          <a:solidFill>
            <a:schemeClr val="tx2"/>
          </a:solidFill>
        </p:spPr>
        <p:txBody>
          <a:bodyPr lIns="251966"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2138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3692165" y="2611549"/>
            <a:ext cx="4745843" cy="1308496"/>
          </a:xfrm>
          <a:prstGeom prst="rect">
            <a:avLst/>
          </a:prstGeom>
        </p:spPr>
      </p:pic>
    </p:spTree>
    <p:extLst>
      <p:ext uri="{BB962C8B-B14F-4D97-AF65-F5344CB8AC3E}">
        <p14:creationId xmlns:p14="http://schemas.microsoft.com/office/powerpoint/2010/main" val="418571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15" name="Text Placeholder 11"/>
          <p:cNvSpPr>
            <a:spLocks noGrp="1"/>
          </p:cNvSpPr>
          <p:nvPr>
            <p:ph type="body" sz="quarter" idx="13" hasCustomPrompt="1"/>
          </p:nvPr>
        </p:nvSpPr>
        <p:spPr>
          <a:xfrm>
            <a:off x="8257120" y="5416608"/>
            <a:ext cx="3598333"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344083" y="5416608"/>
            <a:ext cx="7432559"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344082" y="1602699"/>
            <a:ext cx="7432559"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20" y="1602319"/>
            <a:ext cx="3598333" cy="1810752"/>
          </a:xfrm>
        </p:spPr>
        <p:txBody>
          <a:bodyPr>
            <a:spAutoFit/>
          </a:bodyPr>
          <a:lstStyle>
            <a:lvl1pPr>
              <a:defRPr sz="1600"/>
            </a:lvl1pPr>
            <a:lvl2pPr>
              <a:defRPr sz="1467"/>
            </a:lvl2pPr>
            <a:lvl3pPr>
              <a:defRPr sz="1467"/>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8"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80014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20" name="Text Placeholder 11"/>
          <p:cNvSpPr>
            <a:spLocks noGrp="1"/>
          </p:cNvSpPr>
          <p:nvPr>
            <p:ph type="body" sz="quarter" idx="13" hasCustomPrompt="1"/>
          </p:nvPr>
        </p:nvSpPr>
        <p:spPr>
          <a:xfrm>
            <a:off x="336561" y="5416608"/>
            <a:ext cx="7440081"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4" name="Content Placeholder 3"/>
          <p:cNvSpPr>
            <a:spLocks noGrp="1"/>
          </p:cNvSpPr>
          <p:nvPr>
            <p:ph sz="quarter" idx="17"/>
          </p:nvPr>
        </p:nvSpPr>
        <p:spPr>
          <a:xfrm>
            <a:off x="336553" y="1604439"/>
            <a:ext cx="7440083"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5"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10932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44085" y="306917"/>
            <a:ext cx="11511375" cy="492443"/>
          </a:xfrm>
        </p:spPr>
        <p:txBody>
          <a:bodyPr>
            <a:spAutoFit/>
          </a:bodyPr>
          <a:lstStyle>
            <a:lvl1pPr>
              <a:defRPr sz="3200"/>
            </a:lvl1pPr>
          </a:lstStyle>
          <a:p>
            <a:r>
              <a:rPr lang="en-US" dirty="0"/>
              <a:t>Click To Edit Master Title Style</a:t>
            </a:r>
          </a:p>
        </p:txBody>
      </p:sp>
      <p:sp>
        <p:nvSpPr>
          <p:cNvPr id="11" name="Text Placeholder 2"/>
          <p:cNvSpPr>
            <a:spLocks noGrp="1"/>
          </p:cNvSpPr>
          <p:nvPr>
            <p:ph type="body" idx="15" hasCustomPrompt="1"/>
          </p:nvPr>
        </p:nvSpPr>
        <p:spPr>
          <a:xfrm>
            <a:off x="344083" y="806581"/>
            <a:ext cx="11511375" cy="230832"/>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63" indent="0">
              <a:buNone/>
              <a:defRPr sz="2667" b="1"/>
            </a:lvl2pPr>
            <a:lvl3pPr marL="1218938" indent="0">
              <a:buNone/>
              <a:defRPr sz="2400" b="1"/>
            </a:lvl3pPr>
            <a:lvl4pPr marL="1828406" indent="0">
              <a:buNone/>
              <a:defRPr sz="2133" b="1"/>
            </a:lvl4pPr>
            <a:lvl5pPr marL="2437878" indent="0">
              <a:buNone/>
              <a:defRPr sz="2133" b="1"/>
            </a:lvl5pPr>
            <a:lvl6pPr marL="3047341" indent="0">
              <a:buNone/>
              <a:defRPr sz="2133" b="1"/>
            </a:lvl6pPr>
            <a:lvl7pPr marL="3656807" indent="0">
              <a:buNone/>
              <a:defRPr sz="2133" b="1"/>
            </a:lvl7pPr>
            <a:lvl8pPr marL="4266275" indent="0">
              <a:buNone/>
              <a:defRPr sz="2133" b="1"/>
            </a:lvl8pPr>
            <a:lvl9pPr marL="4875743" indent="0">
              <a:buNone/>
              <a:defRPr sz="2133"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336557" y="3601480"/>
            <a:ext cx="7432559"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344085" y="6059836"/>
            <a:ext cx="7432559" cy="169277"/>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344085" y="1618067"/>
            <a:ext cx="7432559"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24"/>
          </p:nvPr>
        </p:nvSpPr>
        <p:spPr>
          <a:xfrm>
            <a:off x="336552" y="4050119"/>
            <a:ext cx="7440085" cy="194925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17"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87502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theme" Target="../theme/theme11.xml"/><Relationship Id="rId1" Type="http://schemas.openxmlformats.org/officeDocument/2006/relationships/slideLayout" Target="../slideLayouts/slideLayout15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theme" Target="../theme/theme12.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4" Type="http://schemas.openxmlformats.org/officeDocument/2006/relationships/image" Target="../media/image3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theme" Target="../theme/theme14.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image" Target="../media/image28.svg"/><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image" Target="../media/image27.png"/><Relationship Id="rId2" Type="http://schemas.openxmlformats.org/officeDocument/2006/relationships/slideLayout" Target="../slideLayouts/slideLayout188.xml"/><Relationship Id="rId16" Type="http://schemas.openxmlformats.org/officeDocument/2006/relationships/theme" Target="../theme/theme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theme" Target="../theme/theme16.xml"/><Relationship Id="rId1" Type="http://schemas.openxmlformats.org/officeDocument/2006/relationships/slideLayout" Target="../slideLayouts/slideLayout202.xml"/><Relationship Id="rId4" Type="http://schemas.openxmlformats.org/officeDocument/2006/relationships/image" Target="../media/image28.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1.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heme" Target="../theme/theme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theme" Target="../theme/theme6.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heme" Target="../theme/theme7.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image" Target="../media/image21.emf"/><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heme" Target="../theme/theme8.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image" Target="../media/image20.png"/><Relationship Id="rId2" Type="http://schemas.openxmlformats.org/officeDocument/2006/relationships/slideLayout" Target="../slideLayouts/slideLayout137.xml"/><Relationship Id="rId16" Type="http://schemas.openxmlformats.org/officeDocument/2006/relationships/theme" Target="../theme/theme9.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119761" y="6412993"/>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sp>
        <p:nvSpPr>
          <p:cNvPr id="6" name="Footer Placeholder 5">
            <a:extLst>
              <a:ext uri="{FF2B5EF4-FFF2-40B4-BE49-F238E27FC236}">
                <a16:creationId xmlns:a16="http://schemas.microsoft.com/office/drawing/2014/main" id="{1F0C379E-C901-4435-91B9-11E96F0DCF77}"/>
              </a:ext>
            </a:extLst>
          </p:cNvPr>
          <p:cNvSpPr txBox="1">
            <a:spLocks/>
          </p:cNvSpPr>
          <p:nvPr userDrawn="1"/>
        </p:nvSpPr>
        <p:spPr>
          <a:xfrm>
            <a:off x="1031568" y="6418983"/>
            <a:ext cx="801754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2026 Association for Smarter Homes &amp; Buildings (ASHB) | Smart Building Council (SBC)</a:t>
            </a:r>
          </a:p>
        </p:txBody>
      </p:sp>
      <p:pic>
        <p:nvPicPr>
          <p:cNvPr id="13" name="Picture 12" descr="A logo of a building&#10;&#10;Description automatically generated">
            <a:extLst>
              <a:ext uri="{FF2B5EF4-FFF2-40B4-BE49-F238E27FC236}">
                <a16:creationId xmlns:a16="http://schemas.microsoft.com/office/drawing/2014/main" id="{B6C91078-2118-2809-CFEA-A7DB55092E15}"/>
              </a:ext>
            </a:extLst>
          </p:cNvPr>
          <p:cNvPicPr>
            <a:picLocks noChangeAspect="1"/>
          </p:cNvPicPr>
          <p:nvPr userDrawn="1"/>
        </p:nvPicPr>
        <p:blipFill rotWithShape="1">
          <a:blip r:embed="rId22"/>
          <a:srcRect l="37267" t="33550" r="37682" b="32885"/>
          <a:stretch/>
        </p:blipFill>
        <p:spPr>
          <a:xfrm>
            <a:off x="10811022" y="6193834"/>
            <a:ext cx="641190" cy="644341"/>
          </a:xfrm>
          <a:prstGeom prst="rect">
            <a:avLst/>
          </a:prstGeom>
        </p:spPr>
      </p:pic>
      <p:pic>
        <p:nvPicPr>
          <p:cNvPr id="15" name="Picture 14">
            <a:extLst>
              <a:ext uri="{FF2B5EF4-FFF2-40B4-BE49-F238E27FC236}">
                <a16:creationId xmlns:a16="http://schemas.microsoft.com/office/drawing/2014/main" id="{FEBDC93A-DAC2-9A24-306B-0548E1768D44}"/>
              </a:ext>
            </a:extLst>
          </p:cNvPr>
          <p:cNvPicPr>
            <a:picLocks noChangeAspect="1"/>
          </p:cNvPicPr>
          <p:nvPr userDrawn="1"/>
        </p:nvPicPr>
        <p:blipFill>
          <a:blip r:embed="rId23"/>
          <a:stretch>
            <a:fillRect/>
          </a:stretch>
        </p:blipFill>
        <p:spPr>
          <a:xfrm>
            <a:off x="11503589" y="6176963"/>
            <a:ext cx="646060" cy="644341"/>
          </a:xfrm>
          <a:prstGeom prst="rect">
            <a:avLst/>
          </a:prstGeom>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969" r:id="rId7"/>
    <p:sldLayoutId id="2147483871" r:id="rId8"/>
    <p:sldLayoutId id="2147483955" r:id="rId9"/>
    <p:sldLayoutId id="2147483956" r:id="rId10"/>
    <p:sldLayoutId id="2147483957" r:id="rId11"/>
    <p:sldLayoutId id="2147483958" r:id="rId12"/>
    <p:sldLayoutId id="2147483964" r:id="rId13"/>
    <p:sldLayoutId id="2147483965" r:id="rId14"/>
    <p:sldLayoutId id="2147483966" r:id="rId15"/>
    <p:sldLayoutId id="2147483967" r:id="rId16"/>
    <p:sldLayoutId id="2147483968" r:id="rId17"/>
    <p:sldLayoutId id="2147483970" r:id="rId18"/>
    <p:sldLayoutId id="2147483971" r:id="rId19"/>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gs>
            <a:gs pos="99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7CE278D-4E95-6E44-359D-CAEA1660895C}"/>
              </a:ext>
            </a:extLst>
          </p:cNvPr>
          <p:cNvSpPr/>
          <p:nvPr userDrawn="1"/>
        </p:nvSpPr>
        <p:spPr>
          <a:xfrm>
            <a:off x="0" y="0"/>
            <a:ext cx="12192000" cy="12852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F1217C7B-1A9F-29D3-2B0F-9D6F3BBB2808}"/>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7905" t="17334" r="7714" b="17500"/>
          <a:stretch/>
        </p:blipFill>
        <p:spPr>
          <a:xfrm>
            <a:off x="10263379" y="244678"/>
            <a:ext cx="1512000" cy="667260"/>
          </a:xfrm>
          <a:prstGeom prst="rect">
            <a:avLst/>
          </a:prstGeom>
        </p:spPr>
      </p:pic>
      <p:sp>
        <p:nvSpPr>
          <p:cNvPr id="2" name="Title Placeholder 1">
            <a:extLst>
              <a:ext uri="{FF2B5EF4-FFF2-40B4-BE49-F238E27FC236}">
                <a16:creationId xmlns:a16="http://schemas.microsoft.com/office/drawing/2014/main" id="{960308CE-7D4B-3F4E-E4C1-274A649BB12C}"/>
              </a:ext>
            </a:extLst>
          </p:cNvPr>
          <p:cNvSpPr>
            <a:spLocks noGrp="1"/>
          </p:cNvSpPr>
          <p:nvPr>
            <p:ph type="title"/>
          </p:nvPr>
        </p:nvSpPr>
        <p:spPr>
          <a:xfrm>
            <a:off x="442913" y="0"/>
            <a:ext cx="9755188" cy="908050"/>
          </a:xfrm>
          <a:prstGeom prst="rect">
            <a:avLst/>
          </a:prstGeom>
        </p:spPr>
        <p:txBody>
          <a:bodyPr vert="horz" lIns="0" tIns="0" rIns="0" bIns="0" rtlCol="0" anchor="b">
            <a:no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p:cNvSpPr>
          <p:nvPr>
            <p:ph type="body" idx="1"/>
          </p:nvPr>
        </p:nvSpPr>
        <p:spPr>
          <a:xfrm>
            <a:off x="442912" y="1285252"/>
            <a:ext cx="11306175" cy="428749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3E76A01F-AC31-5BBE-7855-8063C6820B66}"/>
              </a:ext>
            </a:extLst>
          </p:cNvPr>
          <p:cNvPicPr/>
          <p:nvPr userDrawn="1"/>
        </p:nvPicPr>
        <p:blipFill rotWithShape="1">
          <a:blip r:embed="rId6" cstate="email">
            <a:extLst>
              <a:ext uri="{28A0092B-C50C-407E-A947-70E740481C1C}">
                <a14:useLocalDpi xmlns:a14="http://schemas.microsoft.com/office/drawing/2010/main"/>
              </a:ext>
            </a:extLst>
          </a:blip>
          <a:srcRect/>
          <a:stretch/>
        </p:blipFill>
        <p:spPr>
          <a:xfrm>
            <a:off x="0" y="1098551"/>
            <a:ext cx="12192000" cy="307988"/>
          </a:xfrm>
          <a:prstGeom prst="rect">
            <a:avLst/>
          </a:prstGeom>
        </p:spPr>
      </p:pic>
    </p:spTree>
    <p:extLst>
      <p:ext uri="{BB962C8B-B14F-4D97-AF65-F5344CB8AC3E}">
        <p14:creationId xmlns:p14="http://schemas.microsoft.com/office/powerpoint/2010/main" val="823725727"/>
      </p:ext>
    </p:extLst>
  </p:cSld>
  <p:clrMap bg1="lt1" tx1="dk1" bg2="lt2" tx2="dk2" accent1="accent1" accent2="accent2" accent3="accent3" accent4="accent4" accent5="accent5" accent6="accent6" hlink="hlink" folHlink="folHlink"/>
  <p:sldLayoutIdLst>
    <p:sldLayoutId id="2147484129" r:id="rId1"/>
    <p:sldLayoutId id="2147484130" r:id="rId2"/>
  </p:sldLayoutIdLst>
  <p:hf hdr="0" ft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rgbClr val="333740"/>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600" kern="1200">
          <a:solidFill>
            <a:srgbClr val="333740"/>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rgbClr val="333740"/>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rgbClr val="333740"/>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rgbClr val="33374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5" pos="4112">
          <p15:clr>
            <a:srgbClr val="F26B43"/>
          </p15:clr>
        </p15:guide>
        <p15:guide id="26" pos="2842">
          <p15:clr>
            <a:srgbClr val="F26B43"/>
          </p15:clr>
        </p15:guide>
        <p15:guide id="27" pos="2298">
          <p15:clr>
            <a:srgbClr val="F26B43"/>
          </p15:clr>
        </p15:guide>
        <p15:guide id="28" pos="4838">
          <p15:clr>
            <a:srgbClr val="F26B43"/>
          </p15:clr>
        </p15:guide>
        <p15:guide id="29" pos="5382">
          <p15:clr>
            <a:srgbClr val="F26B43"/>
          </p15:clr>
        </p15:guide>
        <p15:guide id="30" pos="3568">
          <p15:clr>
            <a:srgbClr val="F26B43"/>
          </p15:clr>
        </p15:guide>
        <p15:guide id="31" orient="horz" pos="572">
          <p15:clr>
            <a:srgbClr val="F26B43"/>
          </p15:clr>
        </p15:guide>
        <p15:guide id="32" orient="horz" pos="686">
          <p15:clr>
            <a:srgbClr val="F26B43"/>
          </p15:clr>
        </p15:guide>
        <p15:guide id="33" pos="311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gs>
            <a:gs pos="99000">
              <a:schemeClr val="accent1"/>
            </a:gs>
          </a:gsLst>
          <a:lin ang="0" scaled="0"/>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0308CE-7D4B-3F4E-E4C1-274A649BB12C}"/>
              </a:ext>
            </a:extLst>
          </p:cNvPr>
          <p:cNvSpPr>
            <a:spLocks noGrp="1" noRot="1" noMove="1" noResize="1" noEditPoints="1" noAdjustHandles="1" noChangeArrowheads="1" noChangeShapeType="1"/>
          </p:cNvSpPr>
          <p:nvPr>
            <p:ph type="title"/>
          </p:nvPr>
        </p:nvSpPr>
        <p:spPr>
          <a:xfrm>
            <a:off x="442912" y="0"/>
            <a:ext cx="11306175" cy="908050"/>
          </a:xfrm>
          <a:prstGeom prst="rect">
            <a:avLst/>
          </a:prstGeom>
        </p:spPr>
        <p:txBody>
          <a:bodyPr vert="horz" lIns="0" tIns="0" rIns="0" bIns="0" rtlCol="0" anchor="b">
            <a:norm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noRot="1" noMove="1" noResize="1" noEditPoints="1" noAdjustHandles="1" noChangeArrowheads="1" noChangeShapeType="1"/>
          </p:cNvSpPr>
          <p:nvPr>
            <p:ph type="body" idx="1"/>
          </p:nvPr>
        </p:nvSpPr>
        <p:spPr>
          <a:xfrm>
            <a:off x="442913" y="1285252"/>
            <a:ext cx="11306174" cy="428749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E5AE9A1A-BF0F-CA8F-09B5-17A49F82C380}"/>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3338689" y="3338691"/>
            <a:ext cx="6857999" cy="180621"/>
          </a:xfrm>
          <a:prstGeom prst="rect">
            <a:avLst/>
          </a:prstGeom>
        </p:spPr>
      </p:pic>
    </p:spTree>
    <p:extLst>
      <p:ext uri="{BB962C8B-B14F-4D97-AF65-F5344CB8AC3E}">
        <p14:creationId xmlns:p14="http://schemas.microsoft.com/office/powerpoint/2010/main" val="2964677343"/>
      </p:ext>
    </p:extLst>
  </p:cSld>
  <p:clrMap bg1="lt1" tx1="dk1" bg2="lt2" tx2="dk2" accent1="accent1" accent2="accent2" accent3="accent3" accent4="accent4" accent5="accent5" accent6="accent6" hlink="hlink" folHlink="folHlink"/>
  <p:sldLayoutIdLst>
    <p:sldLayoutId id="2147484132" r:id="rId1"/>
  </p:sldLayoutIdLst>
  <p:hf hdr="0" ft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5" pos="4112">
          <p15:clr>
            <a:srgbClr val="F26B43"/>
          </p15:clr>
        </p15:guide>
        <p15:guide id="26" pos="3568">
          <p15:clr>
            <a:srgbClr val="F26B43"/>
          </p15:clr>
        </p15:guide>
        <p15:guide id="27" pos="4838">
          <p15:clr>
            <a:srgbClr val="F26B43"/>
          </p15:clr>
        </p15:guide>
        <p15:guide id="28" pos="5382">
          <p15:clr>
            <a:srgbClr val="F26B43"/>
          </p15:clr>
        </p15:guide>
        <p15:guide id="29" pos="2842">
          <p15:clr>
            <a:srgbClr val="F26B43"/>
          </p15:clr>
        </p15:guide>
        <p15:guide id="30" pos="2298">
          <p15:clr>
            <a:srgbClr val="F26B43"/>
          </p15:clr>
        </p15:guide>
        <p15:guide id="31" orient="horz" pos="572">
          <p15:clr>
            <a:srgbClr val="F26B43"/>
          </p15:clr>
        </p15:guide>
        <p15:guide id="32" orient="horz" pos="68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0308CE-7D4B-3F4E-E4C1-274A649BB12C}"/>
              </a:ext>
            </a:extLst>
          </p:cNvPr>
          <p:cNvSpPr>
            <a:spLocks noGrp="1"/>
          </p:cNvSpPr>
          <p:nvPr>
            <p:ph type="title"/>
          </p:nvPr>
        </p:nvSpPr>
        <p:spPr>
          <a:xfrm>
            <a:off x="442911" y="-10160"/>
            <a:ext cx="11307600" cy="908050"/>
          </a:xfrm>
          <a:prstGeom prst="rect">
            <a:avLst/>
          </a:prstGeom>
        </p:spPr>
        <p:txBody>
          <a:bodyPr vert="horz" lIns="0" tIns="0" rIns="0" bIns="0" rtlCol="0" anchor="b">
            <a:no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p:cNvSpPr>
          <p:nvPr>
            <p:ph type="body" idx="1"/>
          </p:nvPr>
        </p:nvSpPr>
        <p:spPr>
          <a:xfrm>
            <a:off x="442913" y="1267200"/>
            <a:ext cx="11306174" cy="428749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6" name="Slide Number Placeholder 5">
            <a:extLst>
              <a:ext uri="{FF2B5EF4-FFF2-40B4-BE49-F238E27FC236}">
                <a16:creationId xmlns:a16="http://schemas.microsoft.com/office/drawing/2014/main" id="{5937E762-A3E3-64F9-7E9F-FC1E893482C6}"/>
              </a:ext>
            </a:extLst>
          </p:cNvPr>
          <p:cNvSpPr>
            <a:spLocks noGrp="1"/>
          </p:cNvSpPr>
          <p:nvPr>
            <p:ph type="sldNum" sz="quarter" idx="4"/>
          </p:nvPr>
        </p:nvSpPr>
        <p:spPr>
          <a:xfrm>
            <a:off x="82913" y="6416675"/>
            <a:ext cx="360000" cy="238125"/>
          </a:xfrm>
          <a:prstGeom prst="rect">
            <a:avLst/>
          </a:prstGeom>
        </p:spPr>
        <p:txBody>
          <a:bodyPr vert="horz" lIns="0" tIns="0" rIns="0" bIns="0" rtlCol="0" anchor="b"/>
          <a:lstStyle>
            <a:lvl1pPr algn="r">
              <a:defRPr sz="800">
                <a:solidFill>
                  <a:schemeClr val="tx1">
                    <a:lumMod val="60000"/>
                    <a:lumOff val="40000"/>
                  </a:schemeClr>
                </a:solidFill>
                <a:latin typeface="+mn-lt"/>
              </a:defRPr>
            </a:lvl1pPr>
          </a:lstStyle>
          <a:p>
            <a:fld id="{64D2DCB6-719E-0F43-A160-E508323EF71D}" type="slidenum">
              <a:rPr lang="en-DK" smtClean="0"/>
              <a:pPr/>
              <a:t>‹#›</a:t>
            </a:fld>
            <a:endParaRPr lang="en-DK"/>
          </a:p>
        </p:txBody>
      </p:sp>
      <p:sp>
        <p:nvSpPr>
          <p:cNvPr id="5" name="Footer Placeholder 3">
            <a:extLst>
              <a:ext uri="{FF2B5EF4-FFF2-40B4-BE49-F238E27FC236}">
                <a16:creationId xmlns:a16="http://schemas.microsoft.com/office/drawing/2014/main" id="{C628A90D-9F2E-09F5-4D6D-482447535E8C}"/>
              </a:ext>
            </a:extLst>
          </p:cNvPr>
          <p:cNvSpPr>
            <a:spLocks noGrp="1"/>
          </p:cNvSpPr>
          <p:nvPr>
            <p:ph type="ftr" sz="quarter" idx="3"/>
          </p:nvPr>
        </p:nvSpPr>
        <p:spPr>
          <a:xfrm>
            <a:off x="550914" y="6416676"/>
            <a:ext cx="3528961" cy="238124"/>
          </a:xfrm>
          <a:prstGeom prst="rect">
            <a:avLst/>
          </a:prstGeom>
        </p:spPr>
        <p:txBody>
          <a:bodyPr vert="horz" lIns="0" tIns="0" rIns="0" bIns="0" rtlCol="0" anchor="b">
            <a:normAutofit/>
          </a:bodyPr>
          <a:lstStyle>
            <a:lvl1pPr algn="l">
              <a:defRPr lang="en-US" sz="800" kern="1200">
                <a:solidFill>
                  <a:schemeClr val="tx1">
                    <a:lumMod val="60000"/>
                    <a:lumOff val="40000"/>
                  </a:schemeClr>
                </a:solidFill>
                <a:latin typeface="+mn-lt"/>
                <a:ea typeface="+mn-ea"/>
                <a:cs typeface="+mn-cs"/>
              </a:defRPr>
            </a:lvl1pPr>
          </a:lstStyle>
          <a:p>
            <a:endParaRPr lang="en-IE"/>
          </a:p>
        </p:txBody>
      </p:sp>
    </p:spTree>
    <p:extLst>
      <p:ext uri="{BB962C8B-B14F-4D97-AF65-F5344CB8AC3E}">
        <p14:creationId xmlns:p14="http://schemas.microsoft.com/office/powerpoint/2010/main" val="3868599769"/>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Lst>
  <p:hf hdr="0" ft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rgbClr val="333740"/>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rgbClr val="333740"/>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rgbClr val="333740"/>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rgbClr val="333740"/>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rgbClr val="33374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0" orient="horz" pos="572">
          <p15:clr>
            <a:srgbClr val="F26B43"/>
          </p15:clr>
        </p15:guide>
        <p15:guide id="21" orient="horz" pos="686">
          <p15:clr>
            <a:srgbClr val="F26B43"/>
          </p15:clr>
        </p15:guide>
        <p15:guide id="22" pos="4838">
          <p15:clr>
            <a:srgbClr val="F26B43"/>
          </p15:clr>
        </p15:guide>
        <p15:guide id="23" pos="5382">
          <p15:clr>
            <a:srgbClr val="F26B43"/>
          </p15:clr>
        </p15:guide>
        <p15:guide id="24" pos="2298">
          <p15:clr>
            <a:srgbClr val="F26B43"/>
          </p15:clr>
        </p15:guide>
        <p15:guide id="25" pos="2842">
          <p15:clr>
            <a:srgbClr val="F26B43"/>
          </p15:clr>
        </p15:guide>
        <p15:guide id="26" pos="4112">
          <p15:clr>
            <a:srgbClr val="F26B43"/>
          </p15:clr>
        </p15:guide>
        <p15:guide id="27" pos="356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gs>
            <a:gs pos="99000">
              <a:schemeClr val="accent1"/>
            </a:gs>
          </a:gsLst>
          <a:lin ang="0" scaled="0"/>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0308CE-7D4B-3F4E-E4C1-274A649BB12C}"/>
              </a:ext>
            </a:extLst>
          </p:cNvPr>
          <p:cNvSpPr>
            <a:spLocks noGrp="1" noRot="1" noMove="1" noResize="1" noEditPoints="1" noAdjustHandles="1" noChangeArrowheads="1" noChangeShapeType="1"/>
          </p:cNvSpPr>
          <p:nvPr>
            <p:ph type="title"/>
          </p:nvPr>
        </p:nvSpPr>
        <p:spPr>
          <a:xfrm>
            <a:off x="442912" y="0"/>
            <a:ext cx="11306175" cy="908050"/>
          </a:xfrm>
          <a:prstGeom prst="rect">
            <a:avLst/>
          </a:prstGeom>
        </p:spPr>
        <p:txBody>
          <a:bodyPr vert="horz" lIns="0" tIns="0" rIns="0" bIns="0" rtlCol="0" anchor="b">
            <a:norm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noRot="1" noMove="1" noResize="1" noEditPoints="1" noAdjustHandles="1" noChangeArrowheads="1" noChangeShapeType="1"/>
          </p:cNvSpPr>
          <p:nvPr>
            <p:ph type="body" idx="1"/>
          </p:nvPr>
        </p:nvSpPr>
        <p:spPr>
          <a:xfrm>
            <a:off x="442913" y="1285252"/>
            <a:ext cx="11306174" cy="428749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pic>
        <p:nvPicPr>
          <p:cNvPr id="4" name="Picture 3">
            <a:extLst>
              <a:ext uri="{FF2B5EF4-FFF2-40B4-BE49-F238E27FC236}">
                <a16:creationId xmlns:a16="http://schemas.microsoft.com/office/drawing/2014/main" id="{E5AE9A1A-BF0F-CA8F-09B5-17A49F82C380}"/>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rot="5400000">
            <a:off x="-3338689" y="3338691"/>
            <a:ext cx="6857999" cy="180621"/>
          </a:xfrm>
          <a:prstGeom prst="rect">
            <a:avLst/>
          </a:prstGeom>
        </p:spPr>
      </p:pic>
    </p:spTree>
    <p:extLst>
      <p:ext uri="{BB962C8B-B14F-4D97-AF65-F5344CB8AC3E}">
        <p14:creationId xmlns:p14="http://schemas.microsoft.com/office/powerpoint/2010/main" val="2376806948"/>
      </p:ext>
    </p:extLst>
  </p:cSld>
  <p:clrMap bg1="lt1" tx1="dk1" bg2="lt2" tx2="dk2" accent1="accent1" accent2="accent2" accent3="accent3" accent4="accent4" accent5="accent5" accent6="accent6" hlink="hlink" folHlink="folHlink"/>
  <p:sldLayoutIdLst>
    <p:sldLayoutId id="2147484147" r:id="rId1"/>
    <p:sldLayoutId id="2147484148" r:id="rId2"/>
  </p:sldLayoutIdLst>
  <p:hf hdr="0" ft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5" pos="4112">
          <p15:clr>
            <a:srgbClr val="F26B43"/>
          </p15:clr>
        </p15:guide>
        <p15:guide id="26" pos="3568">
          <p15:clr>
            <a:srgbClr val="F26B43"/>
          </p15:clr>
        </p15:guide>
        <p15:guide id="27" pos="4838">
          <p15:clr>
            <a:srgbClr val="F26B43"/>
          </p15:clr>
        </p15:guide>
        <p15:guide id="28" pos="5382">
          <p15:clr>
            <a:srgbClr val="F26B43"/>
          </p15:clr>
        </p15:guide>
        <p15:guide id="29" pos="2842">
          <p15:clr>
            <a:srgbClr val="F26B43"/>
          </p15:clr>
        </p15:guide>
        <p15:guide id="30" pos="2298">
          <p15:clr>
            <a:srgbClr val="F26B43"/>
          </p15:clr>
        </p15:guide>
        <p15:guide id="31" orient="horz" pos="572">
          <p15:clr>
            <a:srgbClr val="F26B43"/>
          </p15:clr>
        </p15:guide>
        <p15:guide id="32" orient="horz" pos="68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gs>
            <a:gs pos="97000">
              <a:schemeClr val="accent1"/>
            </a:gs>
          </a:gsLst>
          <a:lin ang="0" scaled="0"/>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0308CE-7D4B-3F4E-E4C1-274A649BB12C}"/>
              </a:ext>
            </a:extLst>
          </p:cNvPr>
          <p:cNvSpPr>
            <a:spLocks noGrp="1"/>
          </p:cNvSpPr>
          <p:nvPr>
            <p:ph type="title"/>
          </p:nvPr>
        </p:nvSpPr>
        <p:spPr>
          <a:xfrm>
            <a:off x="442912" y="0"/>
            <a:ext cx="11306175" cy="908050"/>
          </a:xfrm>
          <a:prstGeom prst="rect">
            <a:avLst/>
          </a:prstGeom>
        </p:spPr>
        <p:txBody>
          <a:bodyPr vert="horz" lIns="0" tIns="0" rIns="0" bIns="0" rtlCol="0" anchor="b">
            <a:no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p:cNvSpPr>
          <p:nvPr>
            <p:ph type="body" idx="1"/>
          </p:nvPr>
        </p:nvSpPr>
        <p:spPr>
          <a:xfrm>
            <a:off x="442913" y="1267200"/>
            <a:ext cx="11306174" cy="428749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7" name="Slide Number Placeholder 5">
            <a:extLst>
              <a:ext uri="{FF2B5EF4-FFF2-40B4-BE49-F238E27FC236}">
                <a16:creationId xmlns:a16="http://schemas.microsoft.com/office/drawing/2014/main" id="{E72EECFD-3CCC-EA06-ED22-46CE95EDFE8B}"/>
              </a:ext>
            </a:extLst>
          </p:cNvPr>
          <p:cNvSpPr>
            <a:spLocks noGrp="1"/>
          </p:cNvSpPr>
          <p:nvPr>
            <p:ph type="sldNum" sz="quarter" idx="4"/>
          </p:nvPr>
        </p:nvSpPr>
        <p:spPr>
          <a:xfrm>
            <a:off x="82913" y="6416675"/>
            <a:ext cx="360000" cy="238125"/>
          </a:xfrm>
          <a:prstGeom prst="rect">
            <a:avLst/>
          </a:prstGeom>
        </p:spPr>
        <p:txBody>
          <a:bodyPr vert="horz" lIns="0" tIns="0" rIns="0" bIns="0" rtlCol="0" anchor="b"/>
          <a:lstStyle>
            <a:lvl1pPr algn="r">
              <a:defRPr sz="800">
                <a:solidFill>
                  <a:schemeClr val="bg1"/>
                </a:solidFill>
                <a:latin typeface="+mn-lt"/>
              </a:defRPr>
            </a:lvl1pPr>
          </a:lstStyle>
          <a:p>
            <a:fld id="{64D2DCB6-719E-0F43-A160-E508323EF71D}" type="slidenum">
              <a:rPr lang="en-DK" smtClean="0"/>
              <a:pPr/>
              <a:t>‹#›</a:t>
            </a:fld>
            <a:endParaRPr lang="en-DK"/>
          </a:p>
        </p:txBody>
      </p:sp>
      <p:sp>
        <p:nvSpPr>
          <p:cNvPr id="4" name="Footer Placeholder 3">
            <a:extLst>
              <a:ext uri="{FF2B5EF4-FFF2-40B4-BE49-F238E27FC236}">
                <a16:creationId xmlns:a16="http://schemas.microsoft.com/office/drawing/2014/main" id="{5891F6F8-2CD2-CBE7-39C6-BB6B5F112E47}"/>
              </a:ext>
            </a:extLst>
          </p:cNvPr>
          <p:cNvSpPr>
            <a:spLocks noGrp="1"/>
          </p:cNvSpPr>
          <p:nvPr>
            <p:ph type="ftr" sz="quarter" idx="3"/>
          </p:nvPr>
        </p:nvSpPr>
        <p:spPr>
          <a:xfrm>
            <a:off x="550914" y="6416676"/>
            <a:ext cx="3528961" cy="238124"/>
          </a:xfrm>
          <a:prstGeom prst="rect">
            <a:avLst/>
          </a:prstGeom>
        </p:spPr>
        <p:txBody>
          <a:bodyPr vert="horz" lIns="0" tIns="0" rIns="0" bIns="0" rtlCol="0" anchor="b">
            <a:normAutofit/>
          </a:bodyPr>
          <a:lstStyle>
            <a:lvl1pPr algn="l">
              <a:defRPr lang="en-US" sz="800" kern="1200">
                <a:solidFill>
                  <a:schemeClr val="bg1"/>
                </a:solidFill>
                <a:latin typeface="+mn-lt"/>
                <a:ea typeface="+mn-ea"/>
                <a:cs typeface="+mn-cs"/>
              </a:defRPr>
            </a:lvl1pPr>
          </a:lstStyle>
          <a:p>
            <a:endParaRPr lang="en-IE"/>
          </a:p>
        </p:txBody>
      </p:sp>
    </p:spTree>
    <p:extLst>
      <p:ext uri="{BB962C8B-B14F-4D97-AF65-F5344CB8AC3E}">
        <p14:creationId xmlns:p14="http://schemas.microsoft.com/office/powerpoint/2010/main" val="4244692948"/>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Lst>
  <p:hf hdr="0" ftr="0" dt="0"/>
  <p:txStyles>
    <p:titleStyle>
      <a:lvl1pPr algn="l" defTabSz="914400" rtl="0" eaLnBrk="1" latinLnBrk="0" hangingPunct="1">
        <a:lnSpc>
          <a:spcPct val="100000"/>
        </a:lnSpc>
        <a:spcBef>
          <a:spcPct val="0"/>
        </a:spcBef>
        <a:buNone/>
        <a:defRPr sz="2400" b="1" kern="1200">
          <a:solidFill>
            <a:schemeClr val="bg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0" pos="4838">
          <p15:clr>
            <a:srgbClr val="F26B43"/>
          </p15:clr>
        </p15:guide>
        <p15:guide id="21" pos="5382">
          <p15:clr>
            <a:srgbClr val="F26B43"/>
          </p15:clr>
        </p15:guide>
        <p15:guide id="22" pos="2298">
          <p15:clr>
            <a:srgbClr val="F26B43"/>
          </p15:clr>
        </p15:guide>
        <p15:guide id="23" pos="2842">
          <p15:clr>
            <a:srgbClr val="F26B43"/>
          </p15:clr>
        </p15:guide>
        <p15:guide id="24" pos="3568">
          <p15:clr>
            <a:srgbClr val="F26B43"/>
          </p15:clr>
        </p15:guide>
        <p15:guide id="25" pos="4112">
          <p15:clr>
            <a:srgbClr val="F26B43"/>
          </p15:clr>
        </p15:guide>
        <p15:guide id="26" orient="horz" pos="572">
          <p15:clr>
            <a:srgbClr val="F26B43"/>
          </p15:clr>
        </p15:guide>
        <p15:guide id="27" orient="horz" pos="6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0308CE-7D4B-3F4E-E4C1-274A649BB12C}"/>
              </a:ext>
            </a:extLst>
          </p:cNvPr>
          <p:cNvSpPr>
            <a:spLocks noGrp="1"/>
          </p:cNvSpPr>
          <p:nvPr>
            <p:ph type="title"/>
          </p:nvPr>
        </p:nvSpPr>
        <p:spPr>
          <a:xfrm>
            <a:off x="442911" y="0"/>
            <a:ext cx="11307600" cy="908050"/>
          </a:xfrm>
          <a:prstGeom prst="rect">
            <a:avLst/>
          </a:prstGeom>
        </p:spPr>
        <p:txBody>
          <a:bodyPr vert="horz" lIns="0" tIns="0" rIns="0" bIns="0" rtlCol="0" anchor="b">
            <a:no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p:cNvSpPr>
          <p:nvPr>
            <p:ph type="body" idx="1"/>
          </p:nvPr>
        </p:nvSpPr>
        <p:spPr>
          <a:xfrm>
            <a:off x="442913" y="1267200"/>
            <a:ext cx="11306174" cy="428749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6" name="Slide Number Placeholder 5">
            <a:extLst>
              <a:ext uri="{FF2B5EF4-FFF2-40B4-BE49-F238E27FC236}">
                <a16:creationId xmlns:a16="http://schemas.microsoft.com/office/drawing/2014/main" id="{5937E762-A3E3-64F9-7E9F-FC1E893482C6}"/>
              </a:ext>
            </a:extLst>
          </p:cNvPr>
          <p:cNvSpPr>
            <a:spLocks noGrp="1"/>
          </p:cNvSpPr>
          <p:nvPr>
            <p:ph type="sldNum" sz="quarter" idx="4"/>
          </p:nvPr>
        </p:nvSpPr>
        <p:spPr>
          <a:xfrm>
            <a:off x="82913" y="6416675"/>
            <a:ext cx="360000" cy="238125"/>
          </a:xfrm>
          <a:prstGeom prst="rect">
            <a:avLst/>
          </a:prstGeom>
        </p:spPr>
        <p:txBody>
          <a:bodyPr vert="horz" lIns="0" tIns="0" rIns="0" bIns="0" rtlCol="0" anchor="b"/>
          <a:lstStyle>
            <a:lvl1pPr algn="r">
              <a:defRPr sz="800">
                <a:solidFill>
                  <a:schemeClr val="tx1">
                    <a:lumMod val="60000"/>
                    <a:lumOff val="40000"/>
                  </a:schemeClr>
                </a:solidFill>
                <a:latin typeface="+mn-lt"/>
              </a:defRPr>
            </a:lvl1pPr>
          </a:lstStyle>
          <a:p>
            <a:fld id="{64D2DCB6-719E-0F43-A160-E508323EF71D}" type="slidenum">
              <a:rPr lang="en-DK" smtClean="0"/>
              <a:pPr/>
              <a:t>‹#›</a:t>
            </a:fld>
            <a:endParaRPr lang="en-DK"/>
          </a:p>
        </p:txBody>
      </p:sp>
      <p:sp>
        <p:nvSpPr>
          <p:cNvPr id="4" name="Footer Placeholder 3">
            <a:extLst>
              <a:ext uri="{FF2B5EF4-FFF2-40B4-BE49-F238E27FC236}">
                <a16:creationId xmlns:a16="http://schemas.microsoft.com/office/drawing/2014/main" id="{A188D1CC-8A67-0A9A-0F09-BE4F080075CC}"/>
              </a:ext>
            </a:extLst>
          </p:cNvPr>
          <p:cNvSpPr>
            <a:spLocks noGrp="1"/>
          </p:cNvSpPr>
          <p:nvPr>
            <p:ph type="ftr" sz="quarter" idx="3"/>
          </p:nvPr>
        </p:nvSpPr>
        <p:spPr>
          <a:xfrm>
            <a:off x="550914" y="6416676"/>
            <a:ext cx="3528961" cy="238124"/>
          </a:xfrm>
          <a:prstGeom prst="rect">
            <a:avLst/>
          </a:prstGeom>
        </p:spPr>
        <p:txBody>
          <a:bodyPr vert="horz" lIns="0" tIns="0" rIns="0" bIns="0" rtlCol="0" anchor="b">
            <a:normAutofit/>
          </a:bodyPr>
          <a:lstStyle>
            <a:lvl1pPr algn="l">
              <a:defRPr lang="en-US" sz="800" kern="1200">
                <a:solidFill>
                  <a:schemeClr val="tx1">
                    <a:lumMod val="60000"/>
                    <a:lumOff val="40000"/>
                  </a:schemeClr>
                </a:solidFill>
                <a:latin typeface="+mn-lt"/>
                <a:ea typeface="+mn-ea"/>
                <a:cs typeface="+mn-cs"/>
              </a:defRPr>
            </a:lvl1pPr>
          </a:lstStyle>
          <a:p>
            <a:endParaRPr lang="en-IE"/>
          </a:p>
        </p:txBody>
      </p:sp>
      <p:pic>
        <p:nvPicPr>
          <p:cNvPr id="8" name="Graphic 7">
            <a:extLst>
              <a:ext uri="{FF2B5EF4-FFF2-40B4-BE49-F238E27FC236}">
                <a16:creationId xmlns:a16="http://schemas.microsoft.com/office/drawing/2014/main" id="{0932BBB3-069B-48A6-DBC6-EFEBF1A5E06D}"/>
              </a:ext>
            </a:extLst>
          </p:cNvPr>
          <p:cNvPicPr>
            <a:picLocks noChangeAspect="1"/>
          </p:cNvPicPr>
          <p:nvPr userDrawn="1"/>
        </p:nvPicPr>
        <p:blipFill rotWithShape="1">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rcRect l="7905" t="17334" r="7714" b="17500"/>
          <a:stretch/>
        </p:blipFill>
        <p:spPr>
          <a:xfrm>
            <a:off x="10995337" y="6211527"/>
            <a:ext cx="972000" cy="428953"/>
          </a:xfrm>
          <a:prstGeom prst="rect">
            <a:avLst/>
          </a:prstGeom>
        </p:spPr>
      </p:pic>
    </p:spTree>
    <p:extLst>
      <p:ext uri="{BB962C8B-B14F-4D97-AF65-F5344CB8AC3E}">
        <p14:creationId xmlns:p14="http://schemas.microsoft.com/office/powerpoint/2010/main" val="1684495448"/>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1" r:id="rId12"/>
    <p:sldLayoutId id="2147484182" r:id="rId13"/>
    <p:sldLayoutId id="2147484183" r:id="rId14"/>
    <p:sldLayoutId id="2147484184" r:id="rId15"/>
  </p:sldLayoutIdLst>
  <p:hf hdr="0" ft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rgbClr val="333740"/>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rgbClr val="333740"/>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rgbClr val="333740"/>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rgbClr val="333740"/>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rgbClr val="33374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0" orient="horz" pos="572">
          <p15:clr>
            <a:srgbClr val="F26B43"/>
          </p15:clr>
        </p15:guide>
        <p15:guide id="21" orient="horz" pos="686">
          <p15:clr>
            <a:srgbClr val="F26B43"/>
          </p15:clr>
        </p15:guide>
        <p15:guide id="22" pos="4838">
          <p15:clr>
            <a:srgbClr val="F26B43"/>
          </p15:clr>
        </p15:guide>
        <p15:guide id="23" pos="5382">
          <p15:clr>
            <a:srgbClr val="F26B43"/>
          </p15:clr>
        </p15:guide>
        <p15:guide id="24" pos="2298">
          <p15:clr>
            <a:srgbClr val="F26B43"/>
          </p15:clr>
        </p15:guide>
        <p15:guide id="25" pos="2842">
          <p15:clr>
            <a:srgbClr val="F26B43"/>
          </p15:clr>
        </p15:guide>
        <p15:guide id="26" pos="4112">
          <p15:clr>
            <a:srgbClr val="F26B43"/>
          </p15:clr>
        </p15:guide>
        <p15:guide id="27" pos="356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0308CE-7D4B-3F4E-E4C1-274A649BB12C}"/>
              </a:ext>
            </a:extLst>
          </p:cNvPr>
          <p:cNvSpPr>
            <a:spLocks noGrp="1"/>
          </p:cNvSpPr>
          <p:nvPr>
            <p:ph type="title"/>
          </p:nvPr>
        </p:nvSpPr>
        <p:spPr>
          <a:xfrm>
            <a:off x="442911" y="-10160"/>
            <a:ext cx="11307600" cy="908050"/>
          </a:xfrm>
          <a:prstGeom prst="rect">
            <a:avLst/>
          </a:prstGeom>
        </p:spPr>
        <p:txBody>
          <a:bodyPr vert="horz" lIns="0" tIns="0" rIns="0" bIns="0" rtlCol="0" anchor="b">
            <a:no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B2238088-6013-F84E-AA3D-4B5C9FC34222}"/>
              </a:ext>
            </a:extLst>
          </p:cNvPr>
          <p:cNvSpPr>
            <a:spLocks noGrp="1"/>
          </p:cNvSpPr>
          <p:nvPr>
            <p:ph type="body" idx="1"/>
          </p:nvPr>
        </p:nvSpPr>
        <p:spPr>
          <a:xfrm>
            <a:off x="442913" y="1267200"/>
            <a:ext cx="11306174" cy="428749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6" name="Slide Number Placeholder 5">
            <a:extLst>
              <a:ext uri="{FF2B5EF4-FFF2-40B4-BE49-F238E27FC236}">
                <a16:creationId xmlns:a16="http://schemas.microsoft.com/office/drawing/2014/main" id="{5937E762-A3E3-64F9-7E9F-FC1E893482C6}"/>
              </a:ext>
            </a:extLst>
          </p:cNvPr>
          <p:cNvSpPr>
            <a:spLocks noGrp="1"/>
          </p:cNvSpPr>
          <p:nvPr>
            <p:ph type="sldNum" sz="quarter" idx="4"/>
          </p:nvPr>
        </p:nvSpPr>
        <p:spPr>
          <a:xfrm>
            <a:off x="82913" y="6416675"/>
            <a:ext cx="360000" cy="238125"/>
          </a:xfrm>
          <a:prstGeom prst="rect">
            <a:avLst/>
          </a:prstGeom>
        </p:spPr>
        <p:txBody>
          <a:bodyPr vert="horz" lIns="0" tIns="0" rIns="0" bIns="0" rtlCol="0" anchor="b"/>
          <a:lstStyle>
            <a:lvl1pPr algn="r">
              <a:defRPr sz="800">
                <a:solidFill>
                  <a:schemeClr val="tx1">
                    <a:lumMod val="60000"/>
                    <a:lumOff val="40000"/>
                  </a:schemeClr>
                </a:solidFill>
                <a:latin typeface="+mn-lt"/>
              </a:defRPr>
            </a:lvl1pPr>
          </a:lstStyle>
          <a:p>
            <a:fld id="{64D2DCB6-719E-0F43-A160-E508323EF71D}" type="slidenum">
              <a:rPr lang="en-DK" smtClean="0"/>
              <a:pPr/>
              <a:t>‹#›</a:t>
            </a:fld>
            <a:endParaRPr lang="en-DK"/>
          </a:p>
        </p:txBody>
      </p:sp>
      <p:sp>
        <p:nvSpPr>
          <p:cNvPr id="5" name="Title 4">
            <a:extLst>
              <a:ext uri="{FF2B5EF4-FFF2-40B4-BE49-F238E27FC236}">
                <a16:creationId xmlns:a16="http://schemas.microsoft.com/office/drawing/2014/main" id="{E96F4449-6BEF-962D-BEC4-21AF5C1D44DA}"/>
              </a:ext>
            </a:extLst>
          </p:cNvPr>
          <p:cNvSpPr txBox="1">
            <a:spLocks/>
          </p:cNvSpPr>
          <p:nvPr userDrawn="1"/>
        </p:nvSpPr>
        <p:spPr>
          <a:xfrm>
            <a:off x="442912" y="158332"/>
            <a:ext cx="1524432" cy="138499"/>
          </a:xfrm>
          <a:prstGeom prst="rect">
            <a:avLst/>
          </a:prstGeom>
        </p:spPr>
        <p:txBody>
          <a:bodyPr wrap="square" lIns="0" tIns="0" rIns="0" bIns="0">
            <a:spAutoFit/>
          </a:bodyPr>
          <a:lstStyle>
            <a:lvl1pPr algn="l" defTabSz="914400" rtl="0" eaLnBrk="1" latinLnBrk="0" hangingPunct="1">
              <a:lnSpc>
                <a:spcPct val="90000"/>
              </a:lnSpc>
              <a:spcBef>
                <a:spcPct val="0"/>
              </a:spcBef>
              <a:buNone/>
              <a:defRPr sz="23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1000" b="1" i="0" u="none" strike="noStrike" kern="1200" cap="none" spc="10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CASE STUDY</a:t>
            </a:r>
          </a:p>
        </p:txBody>
      </p:sp>
      <p:pic>
        <p:nvPicPr>
          <p:cNvPr id="8" name="Graphic 7">
            <a:extLst>
              <a:ext uri="{FF2B5EF4-FFF2-40B4-BE49-F238E27FC236}">
                <a16:creationId xmlns:a16="http://schemas.microsoft.com/office/drawing/2014/main" id="{BD34659A-7AB4-3146-AC5D-3D7C1BA7BD58}"/>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7905" t="17334" r="7714" b="17500"/>
          <a:stretch/>
        </p:blipFill>
        <p:spPr>
          <a:xfrm>
            <a:off x="10263379" y="244678"/>
            <a:ext cx="1512000" cy="667260"/>
          </a:xfrm>
          <a:prstGeom prst="rect">
            <a:avLst/>
          </a:prstGeom>
        </p:spPr>
      </p:pic>
      <p:sp>
        <p:nvSpPr>
          <p:cNvPr id="7" name="Footer Placeholder 3">
            <a:extLst>
              <a:ext uri="{FF2B5EF4-FFF2-40B4-BE49-F238E27FC236}">
                <a16:creationId xmlns:a16="http://schemas.microsoft.com/office/drawing/2014/main" id="{D3CE8E5C-172A-4BA8-3E14-F7DB677362E0}"/>
              </a:ext>
            </a:extLst>
          </p:cNvPr>
          <p:cNvSpPr>
            <a:spLocks noGrp="1"/>
          </p:cNvSpPr>
          <p:nvPr>
            <p:ph type="ftr" sz="quarter" idx="3"/>
          </p:nvPr>
        </p:nvSpPr>
        <p:spPr>
          <a:xfrm>
            <a:off x="550914" y="6416676"/>
            <a:ext cx="3528961" cy="238124"/>
          </a:xfrm>
          <a:prstGeom prst="rect">
            <a:avLst/>
          </a:prstGeom>
        </p:spPr>
        <p:txBody>
          <a:bodyPr vert="horz" lIns="0" tIns="0" rIns="0" bIns="0" rtlCol="0" anchor="b">
            <a:normAutofit/>
          </a:bodyPr>
          <a:lstStyle>
            <a:lvl1pPr algn="l">
              <a:defRPr lang="en-US" sz="800" kern="1200">
                <a:solidFill>
                  <a:schemeClr val="tx1">
                    <a:lumMod val="60000"/>
                    <a:lumOff val="40000"/>
                  </a:schemeClr>
                </a:solidFill>
                <a:latin typeface="+mn-lt"/>
                <a:ea typeface="+mn-ea"/>
                <a:cs typeface="+mn-cs"/>
              </a:defRPr>
            </a:lvl1pPr>
          </a:lstStyle>
          <a:p>
            <a:endParaRPr lang="en-IE"/>
          </a:p>
        </p:txBody>
      </p:sp>
    </p:spTree>
    <p:extLst>
      <p:ext uri="{BB962C8B-B14F-4D97-AF65-F5344CB8AC3E}">
        <p14:creationId xmlns:p14="http://schemas.microsoft.com/office/powerpoint/2010/main" val="128806032"/>
      </p:ext>
    </p:extLst>
  </p:cSld>
  <p:clrMap bg1="lt1" tx1="dk1" bg2="lt2" tx2="dk2" accent1="accent1" accent2="accent2" accent3="accent3" accent4="accent4" accent5="accent5" accent6="accent6" hlink="hlink" folHlink="folHlink"/>
  <p:sldLayoutIdLst>
    <p:sldLayoutId id="2147484186" r:id="rId1"/>
  </p:sldLayoutIdLst>
  <p:hf hdr="0" ft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Tx/>
        <a:buSzPct val="100000"/>
        <a:buFont typeface="Arial" panose="020B0604020202020204" pitchFamily="34" charset="0"/>
        <a:buNone/>
        <a:defRPr sz="1600" kern="1200">
          <a:solidFill>
            <a:srgbClr val="333740"/>
          </a:solidFill>
          <a:latin typeface="+mn-lt"/>
          <a:ea typeface="+mn-ea"/>
          <a:cs typeface="+mn-cs"/>
        </a:defRPr>
      </a:lvl1pPr>
      <a:lvl2pPr marL="6858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400" kern="1200">
          <a:solidFill>
            <a:srgbClr val="333740"/>
          </a:solidFill>
          <a:latin typeface="+mn-lt"/>
          <a:ea typeface="+mn-ea"/>
          <a:cs typeface="+mn-cs"/>
        </a:defRPr>
      </a:lvl2pPr>
      <a:lvl3pPr marL="11430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200" kern="1200">
          <a:solidFill>
            <a:srgbClr val="333740"/>
          </a:solidFill>
          <a:latin typeface="+mn-lt"/>
          <a:ea typeface="+mn-ea"/>
          <a:cs typeface="+mn-cs"/>
        </a:defRPr>
      </a:lvl3pPr>
      <a:lvl4pPr marL="16002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rgbClr val="333740"/>
          </a:solidFill>
          <a:latin typeface="+mn-lt"/>
          <a:ea typeface="+mn-ea"/>
          <a:cs typeface="+mn-cs"/>
        </a:defRPr>
      </a:lvl4pPr>
      <a:lvl5pPr marL="20574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1100" kern="1200">
          <a:solidFill>
            <a:srgbClr val="33374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4042">
          <p15:clr>
            <a:srgbClr val="F26B43"/>
          </p15:clr>
        </p15:guide>
        <p15:guide id="6" pos="7401">
          <p15:clr>
            <a:srgbClr val="F26B43"/>
          </p15:clr>
        </p15:guide>
        <p15:guide id="7" orient="horz" pos="4178">
          <p15:clr>
            <a:srgbClr val="F26B43"/>
          </p15:clr>
        </p15:guide>
        <p15:guide id="8" pos="143">
          <p15:clr>
            <a:srgbClr val="F26B43"/>
          </p15:clr>
        </p15:guide>
        <p15:guide id="9" orient="horz" pos="142">
          <p15:clr>
            <a:srgbClr val="F26B43"/>
          </p15:clr>
        </p15:guide>
        <p15:guide id="10" pos="7537">
          <p15:clr>
            <a:srgbClr val="F26B43"/>
          </p15:clr>
        </p15:guide>
        <p15:guide id="11" pos="1277">
          <p15:clr>
            <a:srgbClr val="F26B43"/>
          </p15:clr>
        </p15:guide>
        <p15:guide id="12" pos="2570">
          <p15:clr>
            <a:srgbClr val="F26B43"/>
          </p15:clr>
        </p15:guide>
        <p15:guide id="13" pos="6403">
          <p15:clr>
            <a:srgbClr val="F26B43"/>
          </p15:clr>
        </p15:guide>
        <p15:guide id="14" pos="5110">
          <p15:clr>
            <a:srgbClr val="F26B43"/>
          </p15:clr>
        </p15:guide>
        <p15:guide id="15" orient="horz" pos="1434">
          <p15:clr>
            <a:srgbClr val="F26B43"/>
          </p15:clr>
        </p15:guide>
        <p15:guide id="16" orient="horz" pos="2886">
          <p15:clr>
            <a:srgbClr val="F26B43"/>
          </p15:clr>
        </p15:guide>
        <p15:guide id="17" orient="horz" pos="2160">
          <p15:clr>
            <a:srgbClr val="F26B43"/>
          </p15:clr>
        </p15:guide>
        <p15:guide id="18" orient="horz" pos="799">
          <p15:clr>
            <a:srgbClr val="F26B43"/>
          </p15:clr>
        </p15:guide>
        <p15:guide id="19" pos="279">
          <p15:clr>
            <a:srgbClr val="F26B43"/>
          </p15:clr>
        </p15:guide>
        <p15:guide id="20" orient="horz" pos="572">
          <p15:clr>
            <a:srgbClr val="F26B43"/>
          </p15:clr>
        </p15:guide>
        <p15:guide id="21" orient="horz" pos="686">
          <p15:clr>
            <a:srgbClr val="F26B43"/>
          </p15:clr>
        </p15:guide>
        <p15:guide id="22" pos="4838">
          <p15:clr>
            <a:srgbClr val="F26B43"/>
          </p15:clr>
        </p15:guide>
        <p15:guide id="23" pos="5382">
          <p15:clr>
            <a:srgbClr val="F26B43"/>
          </p15:clr>
        </p15:guide>
        <p15:guide id="24" pos="2298">
          <p15:clr>
            <a:srgbClr val="F26B43"/>
          </p15:clr>
        </p15:guide>
        <p15:guide id="25" pos="2842">
          <p15:clr>
            <a:srgbClr val="F26B43"/>
          </p15:clr>
        </p15:guide>
        <p15:guide id="26" pos="4112">
          <p15:clr>
            <a:srgbClr val="F26B43"/>
          </p15:clr>
        </p15:guide>
        <p15:guide id="27" pos="35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6D477528-24A3-4E66-B951-ACBE3EFE36E3}"/>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29453148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608542" rtl="0" eaLnBrk="1" latinLnBrk="0" hangingPunct="1">
        <a:spcBef>
          <a:spcPct val="0"/>
        </a:spcBef>
        <a:buNone/>
        <a:defRPr sz="5900" kern="1200">
          <a:solidFill>
            <a:schemeClr val="tx1"/>
          </a:solidFill>
          <a:latin typeface="+mj-lt"/>
          <a:ea typeface="+mj-ea"/>
          <a:cs typeface="+mj-cs"/>
        </a:defRPr>
      </a:lvl1pPr>
    </p:titleStyle>
    <p:bodyStyle>
      <a:lvl1pPr marL="456406" indent="-456406" algn="l" defTabSz="608542" rtl="0" eaLnBrk="1" latinLnBrk="0" hangingPunct="1">
        <a:spcBef>
          <a:spcPct val="20000"/>
        </a:spcBef>
        <a:buFont typeface="Arial"/>
        <a:buChar char="•"/>
        <a:defRPr sz="4300" kern="1200">
          <a:solidFill>
            <a:schemeClr val="tx1"/>
          </a:solidFill>
          <a:latin typeface="+mn-lt"/>
          <a:ea typeface="+mn-ea"/>
          <a:cs typeface="+mn-cs"/>
        </a:defRPr>
      </a:lvl1pPr>
      <a:lvl2pPr marL="988882" indent="-380340" algn="l" defTabSz="608542" rtl="0" eaLnBrk="1" latinLnBrk="0" hangingPunct="1">
        <a:spcBef>
          <a:spcPct val="20000"/>
        </a:spcBef>
        <a:buFont typeface="Arial"/>
        <a:buChar char="–"/>
        <a:defRPr sz="3700" kern="1200">
          <a:solidFill>
            <a:schemeClr val="tx1"/>
          </a:solidFill>
          <a:latin typeface="+mn-lt"/>
          <a:ea typeface="+mn-ea"/>
          <a:cs typeface="+mn-cs"/>
        </a:defRPr>
      </a:lvl2pPr>
      <a:lvl3pPr marL="1521353" indent="-304271" algn="l" defTabSz="608542" rtl="0" eaLnBrk="1" latinLnBrk="0" hangingPunct="1">
        <a:spcBef>
          <a:spcPct val="20000"/>
        </a:spcBef>
        <a:buFont typeface="Arial"/>
        <a:buChar char="•"/>
        <a:defRPr sz="3200" kern="1200">
          <a:solidFill>
            <a:schemeClr val="tx1"/>
          </a:solidFill>
          <a:latin typeface="+mn-lt"/>
          <a:ea typeface="+mn-ea"/>
          <a:cs typeface="+mn-cs"/>
        </a:defRPr>
      </a:lvl3pPr>
      <a:lvl4pPr marL="2129885" indent="-304271" algn="l" defTabSz="608542" rtl="0" eaLnBrk="1" latinLnBrk="0" hangingPunct="1">
        <a:spcBef>
          <a:spcPct val="20000"/>
        </a:spcBef>
        <a:buFont typeface="Arial"/>
        <a:buChar char="–"/>
        <a:defRPr sz="2700" kern="1200">
          <a:solidFill>
            <a:schemeClr val="tx1"/>
          </a:solidFill>
          <a:latin typeface="+mn-lt"/>
          <a:ea typeface="+mn-ea"/>
          <a:cs typeface="+mn-cs"/>
        </a:defRPr>
      </a:lvl4pPr>
      <a:lvl5pPr marL="2738429" indent="-304271" algn="l" defTabSz="608542" rtl="0" eaLnBrk="1" latinLnBrk="0" hangingPunct="1">
        <a:spcBef>
          <a:spcPct val="20000"/>
        </a:spcBef>
        <a:buFont typeface="Arial"/>
        <a:buChar char="»"/>
        <a:defRPr sz="2700" kern="1200">
          <a:solidFill>
            <a:schemeClr val="tx1"/>
          </a:solidFill>
          <a:latin typeface="+mn-lt"/>
          <a:ea typeface="+mn-ea"/>
          <a:cs typeface="+mn-cs"/>
        </a:defRPr>
      </a:lvl5pPr>
      <a:lvl6pPr marL="3346963" indent="-304271" algn="l" defTabSz="608542" rtl="0" eaLnBrk="1" latinLnBrk="0" hangingPunct="1">
        <a:spcBef>
          <a:spcPct val="20000"/>
        </a:spcBef>
        <a:buFont typeface="Arial"/>
        <a:buChar char="•"/>
        <a:defRPr sz="2700" kern="1200">
          <a:solidFill>
            <a:schemeClr val="tx1"/>
          </a:solidFill>
          <a:latin typeface="+mn-lt"/>
          <a:ea typeface="+mn-ea"/>
          <a:cs typeface="+mn-cs"/>
        </a:defRPr>
      </a:lvl6pPr>
      <a:lvl7pPr marL="3955509" indent="-304271" algn="l" defTabSz="608542" rtl="0" eaLnBrk="1" latinLnBrk="0" hangingPunct="1">
        <a:spcBef>
          <a:spcPct val="20000"/>
        </a:spcBef>
        <a:buFont typeface="Arial"/>
        <a:buChar char="•"/>
        <a:defRPr sz="2700" kern="1200">
          <a:solidFill>
            <a:schemeClr val="tx1"/>
          </a:solidFill>
          <a:latin typeface="+mn-lt"/>
          <a:ea typeface="+mn-ea"/>
          <a:cs typeface="+mn-cs"/>
        </a:defRPr>
      </a:lvl7pPr>
      <a:lvl8pPr marL="4564051" indent="-304271" algn="l" defTabSz="608542" rtl="0" eaLnBrk="1" latinLnBrk="0" hangingPunct="1">
        <a:spcBef>
          <a:spcPct val="20000"/>
        </a:spcBef>
        <a:buFont typeface="Arial"/>
        <a:buChar char="•"/>
        <a:defRPr sz="2700" kern="1200">
          <a:solidFill>
            <a:schemeClr val="tx1"/>
          </a:solidFill>
          <a:latin typeface="+mn-lt"/>
          <a:ea typeface="+mn-ea"/>
          <a:cs typeface="+mn-cs"/>
        </a:defRPr>
      </a:lvl8pPr>
      <a:lvl9pPr marL="5172587" indent="-304271" algn="l" defTabSz="608542"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542" rtl="0" eaLnBrk="1" latinLnBrk="0" hangingPunct="1">
        <a:defRPr sz="2400" kern="1200">
          <a:solidFill>
            <a:schemeClr val="tx1"/>
          </a:solidFill>
          <a:latin typeface="+mn-lt"/>
          <a:ea typeface="+mn-ea"/>
          <a:cs typeface="+mn-cs"/>
        </a:defRPr>
      </a:lvl1pPr>
      <a:lvl2pPr marL="608542" algn="l" defTabSz="608542" rtl="0" eaLnBrk="1" latinLnBrk="0" hangingPunct="1">
        <a:defRPr sz="2400" kern="1200">
          <a:solidFill>
            <a:schemeClr val="tx1"/>
          </a:solidFill>
          <a:latin typeface="+mn-lt"/>
          <a:ea typeface="+mn-ea"/>
          <a:cs typeface="+mn-cs"/>
        </a:defRPr>
      </a:lvl2pPr>
      <a:lvl3pPr marL="1217078" algn="l" defTabSz="608542" rtl="0" eaLnBrk="1" latinLnBrk="0" hangingPunct="1">
        <a:defRPr sz="2400" kern="1200">
          <a:solidFill>
            <a:schemeClr val="tx1"/>
          </a:solidFill>
          <a:latin typeface="+mn-lt"/>
          <a:ea typeface="+mn-ea"/>
          <a:cs typeface="+mn-cs"/>
        </a:defRPr>
      </a:lvl3pPr>
      <a:lvl4pPr marL="1825620" algn="l" defTabSz="608542" rtl="0" eaLnBrk="1" latinLnBrk="0" hangingPunct="1">
        <a:defRPr sz="2400" kern="1200">
          <a:solidFill>
            <a:schemeClr val="tx1"/>
          </a:solidFill>
          <a:latin typeface="+mn-lt"/>
          <a:ea typeface="+mn-ea"/>
          <a:cs typeface="+mn-cs"/>
        </a:defRPr>
      </a:lvl4pPr>
      <a:lvl5pPr marL="2434158" algn="l" defTabSz="608542" rtl="0" eaLnBrk="1" latinLnBrk="0" hangingPunct="1">
        <a:defRPr sz="2400" kern="1200">
          <a:solidFill>
            <a:schemeClr val="tx1"/>
          </a:solidFill>
          <a:latin typeface="+mn-lt"/>
          <a:ea typeface="+mn-ea"/>
          <a:cs typeface="+mn-cs"/>
        </a:defRPr>
      </a:lvl5pPr>
      <a:lvl6pPr marL="3042701" algn="l" defTabSz="608542" rtl="0" eaLnBrk="1" latinLnBrk="0" hangingPunct="1">
        <a:defRPr sz="2400" kern="1200">
          <a:solidFill>
            <a:schemeClr val="tx1"/>
          </a:solidFill>
          <a:latin typeface="+mn-lt"/>
          <a:ea typeface="+mn-ea"/>
          <a:cs typeface="+mn-cs"/>
        </a:defRPr>
      </a:lvl6pPr>
      <a:lvl7pPr marL="3651238" algn="l" defTabSz="608542" rtl="0" eaLnBrk="1" latinLnBrk="0" hangingPunct="1">
        <a:defRPr sz="2400" kern="1200">
          <a:solidFill>
            <a:schemeClr val="tx1"/>
          </a:solidFill>
          <a:latin typeface="+mn-lt"/>
          <a:ea typeface="+mn-ea"/>
          <a:cs typeface="+mn-cs"/>
        </a:defRPr>
      </a:lvl7pPr>
      <a:lvl8pPr marL="4259778" algn="l" defTabSz="608542" rtl="0" eaLnBrk="1" latinLnBrk="0" hangingPunct="1">
        <a:defRPr sz="2400" kern="1200">
          <a:solidFill>
            <a:schemeClr val="tx1"/>
          </a:solidFill>
          <a:latin typeface="+mn-lt"/>
          <a:ea typeface="+mn-ea"/>
          <a:cs typeface="+mn-cs"/>
        </a:defRPr>
      </a:lvl8pPr>
      <a:lvl9pPr marL="4868314" algn="l" defTabSz="608542"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8" y="306917"/>
            <a:ext cx="11511375"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8" name="Slide Number Placeholder 5">
            <a:extLst>
              <a:ext uri="{FF2B5EF4-FFF2-40B4-BE49-F238E27FC236}">
                <a16:creationId xmlns:a16="http://schemas.microsoft.com/office/drawing/2014/main" id="{A3EEB90D-9D85-6342-B1FE-68232B587EA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a:extLst>
              <a:ext uri="{FF2B5EF4-FFF2-40B4-BE49-F238E27FC236}">
                <a16:creationId xmlns:a16="http://schemas.microsoft.com/office/drawing/2014/main" id="{CDCDB3FF-EC15-884C-9A5C-CC77E83EC60F}"/>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pic>
        <p:nvPicPr>
          <p:cNvPr id="4" name="Picture 3" descr="schneider_LIO_Life-Green_RGB.png">
            <a:extLst>
              <a:ext uri="{FF2B5EF4-FFF2-40B4-BE49-F238E27FC236}">
                <a16:creationId xmlns:a16="http://schemas.microsoft.com/office/drawing/2014/main" id="{567C1D28-7141-BA86-EDBA-24B8D3B3260A}"/>
              </a:ext>
            </a:extLst>
          </p:cNvPr>
          <p:cNvPicPr>
            <a:picLocks noChangeAspect="1"/>
          </p:cNvPicPr>
          <p:nvPr userDrawn="1"/>
        </p:nvPicPr>
        <p:blipFill>
          <a:blip r:embed="rId13" cstate="print"/>
          <a:stretch>
            <a:fillRect/>
          </a:stretch>
        </p:blipFill>
        <p:spPr>
          <a:xfrm>
            <a:off x="9422712" y="5993331"/>
            <a:ext cx="2722397" cy="750604"/>
          </a:xfrm>
          <a:prstGeom prst="rect">
            <a:avLst/>
          </a:prstGeom>
        </p:spPr>
      </p:pic>
      <p:sp>
        <p:nvSpPr>
          <p:cNvPr id="3" name="MSIPCMContentMarking" descr="{&quot;HashCode&quot;:1235388660,&quot;Placement&quot;:&quot;Footer&quot;,&quot;Top&quot;:525.346863,&quot;Left&quot;:462.094818,&quot;SlideWidth&quot;:960,&quot;SlideHeight&quot;:540}">
            <a:extLst>
              <a:ext uri="{FF2B5EF4-FFF2-40B4-BE49-F238E27FC236}">
                <a16:creationId xmlns:a16="http://schemas.microsoft.com/office/drawing/2014/main" id="{90165D91-8549-2181-BFBC-869ACDEAF586}"/>
              </a:ext>
            </a:extLst>
          </p:cNvPr>
          <p:cNvSpPr txBox="1"/>
          <p:nvPr userDrawn="1"/>
        </p:nvSpPr>
        <p:spPr>
          <a:xfrm>
            <a:off x="5868606" y="6718787"/>
            <a:ext cx="454791" cy="92333"/>
          </a:xfrm>
          <a:prstGeom prst="rect">
            <a:avLst/>
          </a:prstGeom>
          <a:noFill/>
        </p:spPr>
        <p:txBody>
          <a:bodyPr vert="horz" wrap="square" lIns="0" tIns="0" rIns="0" bIns="0" rtlCol="0" anchor="ctr" anchorCtr="1">
            <a:spAutoFit/>
          </a:bodyPr>
          <a:lstStyle/>
          <a:p>
            <a:pPr algn="ctr">
              <a:spcBef>
                <a:spcPts val="0"/>
              </a:spcBef>
              <a:spcAft>
                <a:spcPts val="0"/>
              </a:spcAft>
            </a:pPr>
            <a:r>
              <a:rPr lang="en-US" sz="6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380815701"/>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Lst>
  <p:hf hdr="0" dt="0"/>
  <p:txStyles>
    <p:titleStyle>
      <a:lvl1pPr algn="l" defTabSz="609547" rtl="0" eaLnBrk="1" latinLnBrk="0" hangingPunct="1">
        <a:spcBef>
          <a:spcPct val="0"/>
        </a:spcBef>
        <a:buNone/>
        <a:defRPr sz="3200" kern="1200">
          <a:solidFill>
            <a:srgbClr val="36C746"/>
          </a:solidFill>
          <a:latin typeface="Arial"/>
          <a:ea typeface="+mj-ea"/>
          <a:cs typeface="Arial"/>
        </a:defRPr>
      </a:lvl1pPr>
    </p:titleStyle>
    <p:bodyStyle>
      <a:lvl1pPr marL="230698" indent="-209533" algn="l" defTabSz="609547"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60" indent="-243397" algn="l" defTabSz="596849"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489" indent="-239165" algn="l" defTabSz="609547"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69" indent="-239165" algn="l" defTabSz="609547"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15" indent="-247628" algn="l" defTabSz="609547"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13" indent="-243821" algn="l" defTabSz="609547"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13" indent="-243821" algn="l" defTabSz="609547"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610" indent="-304775" algn="l" defTabSz="609547" rtl="0" eaLnBrk="1" latinLnBrk="0" hangingPunct="1">
        <a:spcBef>
          <a:spcPct val="20000"/>
        </a:spcBef>
        <a:buFont typeface="Arial"/>
        <a:buChar char="•"/>
        <a:defRPr sz="2667" kern="1200">
          <a:solidFill>
            <a:schemeClr val="tx1"/>
          </a:solidFill>
          <a:latin typeface="+mn-lt"/>
          <a:ea typeface="+mn-ea"/>
          <a:cs typeface="+mn-cs"/>
        </a:defRPr>
      </a:lvl8pPr>
      <a:lvl9pPr marL="5181158" indent="-304775" algn="l" defTabSz="60954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47" rtl="0" eaLnBrk="1" latinLnBrk="0" hangingPunct="1">
        <a:defRPr sz="2400" kern="1200">
          <a:solidFill>
            <a:schemeClr val="tx1"/>
          </a:solidFill>
          <a:latin typeface="+mn-lt"/>
          <a:ea typeface="+mn-ea"/>
          <a:cs typeface="+mn-cs"/>
        </a:defRPr>
      </a:lvl1pPr>
      <a:lvl2pPr marL="609547" algn="l" defTabSz="609547" rtl="0" eaLnBrk="1" latinLnBrk="0" hangingPunct="1">
        <a:defRPr sz="2400" kern="1200">
          <a:solidFill>
            <a:schemeClr val="tx1"/>
          </a:solidFill>
          <a:latin typeface="+mn-lt"/>
          <a:ea typeface="+mn-ea"/>
          <a:cs typeface="+mn-cs"/>
        </a:defRPr>
      </a:lvl2pPr>
      <a:lvl3pPr marL="1219096" algn="l" defTabSz="609547" rtl="0" eaLnBrk="1" latinLnBrk="0" hangingPunct="1">
        <a:defRPr sz="2400" kern="1200">
          <a:solidFill>
            <a:schemeClr val="tx1"/>
          </a:solidFill>
          <a:latin typeface="+mn-lt"/>
          <a:ea typeface="+mn-ea"/>
          <a:cs typeface="+mn-cs"/>
        </a:defRPr>
      </a:lvl3pPr>
      <a:lvl4pPr marL="1828645" algn="l" defTabSz="609547" rtl="0" eaLnBrk="1" latinLnBrk="0" hangingPunct="1">
        <a:defRPr sz="2400" kern="1200">
          <a:solidFill>
            <a:schemeClr val="tx1"/>
          </a:solidFill>
          <a:latin typeface="+mn-lt"/>
          <a:ea typeface="+mn-ea"/>
          <a:cs typeface="+mn-cs"/>
        </a:defRPr>
      </a:lvl4pPr>
      <a:lvl5pPr marL="2438194" algn="l" defTabSz="609547" rtl="0" eaLnBrk="1" latinLnBrk="0" hangingPunct="1">
        <a:defRPr sz="2400" kern="1200">
          <a:solidFill>
            <a:schemeClr val="tx1"/>
          </a:solidFill>
          <a:latin typeface="+mn-lt"/>
          <a:ea typeface="+mn-ea"/>
          <a:cs typeface="+mn-cs"/>
        </a:defRPr>
      </a:lvl5pPr>
      <a:lvl6pPr marL="3047740" algn="l" defTabSz="609547" rtl="0" eaLnBrk="1" latinLnBrk="0" hangingPunct="1">
        <a:defRPr sz="2400" kern="1200">
          <a:solidFill>
            <a:schemeClr val="tx1"/>
          </a:solidFill>
          <a:latin typeface="+mn-lt"/>
          <a:ea typeface="+mn-ea"/>
          <a:cs typeface="+mn-cs"/>
        </a:defRPr>
      </a:lvl6pPr>
      <a:lvl7pPr marL="3657287" algn="l" defTabSz="609547" rtl="0" eaLnBrk="1" latinLnBrk="0" hangingPunct="1">
        <a:defRPr sz="2400" kern="1200">
          <a:solidFill>
            <a:schemeClr val="tx1"/>
          </a:solidFill>
          <a:latin typeface="+mn-lt"/>
          <a:ea typeface="+mn-ea"/>
          <a:cs typeface="+mn-cs"/>
        </a:defRPr>
      </a:lvl7pPr>
      <a:lvl8pPr marL="4266836" algn="l" defTabSz="609547" rtl="0" eaLnBrk="1" latinLnBrk="0" hangingPunct="1">
        <a:defRPr sz="2400" kern="1200">
          <a:solidFill>
            <a:schemeClr val="tx1"/>
          </a:solidFill>
          <a:latin typeface="+mn-lt"/>
          <a:ea typeface="+mn-ea"/>
          <a:cs typeface="+mn-cs"/>
        </a:defRPr>
      </a:lvl8pPr>
      <a:lvl9pPr marL="4876385" algn="l" defTabSz="609547"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7" y="306918"/>
            <a:ext cx="11511376" cy="492444"/>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pic>
        <p:nvPicPr>
          <p:cNvPr id="7" name="Picture 6" descr="schneider_LIO_Life-Green_RGB.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422714" y="5993331"/>
            <a:ext cx="2722397" cy="750604"/>
          </a:xfrm>
          <a:prstGeom prst="rect">
            <a:avLst/>
          </a:prstGeom>
        </p:spPr>
      </p:pic>
      <p:sp>
        <p:nvSpPr>
          <p:cNvPr id="8" name="Slide Number Placeholder 5">
            <a:extLst>
              <a:ext uri="{FF2B5EF4-FFF2-40B4-BE49-F238E27FC236}">
                <a16:creationId xmlns:a16="http://schemas.microsoft.com/office/drawing/2014/main" id="{A3EEB90D-9D85-6342-B1FE-68232B587EA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a:extLst>
              <a:ext uri="{FF2B5EF4-FFF2-40B4-BE49-F238E27FC236}">
                <a16:creationId xmlns:a16="http://schemas.microsoft.com/office/drawing/2014/main" id="{CDCDB3FF-EC15-884C-9A5C-CC77E83EC60F}"/>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
        <p:nvSpPr>
          <p:cNvPr id="3" name="MSIPCMContentMarking" descr="{&quot;HashCode&quot;:1235388660,&quot;Placement&quot;:&quot;Footer&quot;,&quot;Top&quot;:795.346863,&quot;Left&quot;:702.0949,&quot;SlideWidth&quot;:1440,&quot;SlideHeight&quot;:810}">
            <a:extLst>
              <a:ext uri="{FF2B5EF4-FFF2-40B4-BE49-F238E27FC236}">
                <a16:creationId xmlns:a16="http://schemas.microsoft.com/office/drawing/2014/main" id="{F25A4480-31EB-4530-BC34-E5F1C34CAE04}"/>
              </a:ext>
            </a:extLst>
          </p:cNvPr>
          <p:cNvSpPr txBox="1"/>
          <p:nvPr userDrawn="1"/>
        </p:nvSpPr>
        <p:spPr>
          <a:xfrm>
            <a:off x="5944404" y="6765193"/>
            <a:ext cx="303195" cy="61555"/>
          </a:xfrm>
          <a:prstGeom prst="rect">
            <a:avLst/>
          </a:prstGeom>
          <a:noFill/>
        </p:spPr>
        <p:txBody>
          <a:bodyPr vert="horz" wrap="square" lIns="0" tIns="0" rIns="0" bIns="0" rtlCol="0" anchor="ctr" anchorCtr="1">
            <a:spAutoFit/>
          </a:bodyPr>
          <a:lstStyle/>
          <a:p>
            <a:pPr algn="ctr">
              <a:spcBef>
                <a:spcPts val="0"/>
              </a:spcBef>
              <a:spcAft>
                <a:spcPts val="0"/>
              </a:spcAft>
            </a:pPr>
            <a:r>
              <a:rPr lang="en-US" sz="4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66165502"/>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Lst>
  <p:hf hdr="0" dt="0"/>
  <p:txStyles>
    <p:titleStyle>
      <a:lvl1pPr algn="l" defTabSz="609549" rtl="0" eaLnBrk="1" latinLnBrk="0" hangingPunct="1">
        <a:spcBef>
          <a:spcPct val="0"/>
        </a:spcBef>
        <a:buNone/>
        <a:defRPr sz="3200" kern="1200">
          <a:solidFill>
            <a:srgbClr val="36C746"/>
          </a:solidFill>
          <a:latin typeface="Arial"/>
          <a:ea typeface="+mj-ea"/>
          <a:cs typeface="Arial"/>
        </a:defRPr>
      </a:lvl1pPr>
    </p:titleStyle>
    <p:bodyStyle>
      <a:lvl1pPr marL="230698" indent="-209535" algn="l" defTabSz="609549" rtl="0" eaLnBrk="1" latinLnBrk="0" hangingPunct="1">
        <a:spcBef>
          <a:spcPts val="668"/>
        </a:spcBef>
        <a:spcAft>
          <a:spcPts val="668"/>
        </a:spcAft>
        <a:buClr>
          <a:schemeClr val="bg2"/>
        </a:buClr>
        <a:buFont typeface="Arial" panose="020B0604020202020204" pitchFamily="34" charset="0"/>
        <a:buNone/>
        <a:defRPr sz="2000" kern="1200">
          <a:solidFill>
            <a:schemeClr val="accent1"/>
          </a:solidFill>
          <a:latin typeface="Arial"/>
          <a:ea typeface="+mn-ea"/>
          <a:cs typeface="Arial"/>
        </a:defRPr>
      </a:lvl1pPr>
      <a:lvl2pPr marL="482560" indent="-243398" algn="l" defTabSz="596849" rtl="0" eaLnBrk="1" latinLnBrk="0" hangingPunct="1">
        <a:spcBef>
          <a:spcPts val="668"/>
        </a:spcBef>
        <a:spcAft>
          <a:spcPts val="668"/>
        </a:spcAft>
        <a:buClr>
          <a:srgbClr val="36C746"/>
        </a:buClr>
        <a:buFont typeface="Arial" pitchFamily="34" charset="0"/>
        <a:buChar char="•"/>
        <a:defRPr sz="1868" kern="1200">
          <a:solidFill>
            <a:schemeClr val="accent1"/>
          </a:solidFill>
          <a:latin typeface="Arial"/>
          <a:ea typeface="+mn-ea"/>
          <a:cs typeface="Arial"/>
        </a:defRPr>
      </a:lvl2pPr>
      <a:lvl3pPr marL="717490" indent="-239165" algn="l" defTabSz="609549" rtl="0" eaLnBrk="1" latinLnBrk="0" hangingPunct="1">
        <a:spcBef>
          <a:spcPts val="668"/>
        </a:spcBef>
        <a:spcAft>
          <a:spcPts val="668"/>
        </a:spcAft>
        <a:buClr>
          <a:srgbClr val="36C746"/>
        </a:buClr>
        <a:buFont typeface="Arial" pitchFamily="34" charset="0"/>
        <a:buChar char="‒"/>
        <a:defRPr sz="1733" kern="1200">
          <a:solidFill>
            <a:schemeClr val="accent1"/>
          </a:solidFill>
          <a:latin typeface="Arial"/>
          <a:ea typeface="+mn-ea"/>
          <a:cs typeface="Arial"/>
        </a:defRPr>
      </a:lvl3pPr>
      <a:lvl4pPr marL="958769" indent="-239165" algn="l" defTabSz="609549" rtl="0" eaLnBrk="1" latinLnBrk="0" hangingPunct="1">
        <a:spcBef>
          <a:spcPts val="668"/>
        </a:spcBef>
        <a:spcAft>
          <a:spcPts val="668"/>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15" indent="-247630" algn="l" defTabSz="609549" rtl="0" eaLnBrk="1" latinLnBrk="0" hangingPunct="1">
        <a:spcBef>
          <a:spcPts val="668"/>
        </a:spcBef>
        <a:spcAft>
          <a:spcPts val="668"/>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14" indent="-243821" algn="l" defTabSz="609549" rtl="0" eaLnBrk="1" latinLnBrk="0" hangingPunct="1">
        <a:spcBef>
          <a:spcPts val="668"/>
        </a:spcBef>
        <a:spcAft>
          <a:spcPts val="668"/>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14" indent="-243821" algn="l" defTabSz="609549" rtl="0" eaLnBrk="1" latinLnBrk="0" hangingPunct="1">
        <a:spcBef>
          <a:spcPts val="668"/>
        </a:spcBef>
        <a:spcAft>
          <a:spcPts val="668"/>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610" indent="-304775" algn="l" defTabSz="609549" rtl="0" eaLnBrk="1" latinLnBrk="0" hangingPunct="1">
        <a:spcBef>
          <a:spcPct val="20000"/>
        </a:spcBef>
        <a:buFont typeface="Arial"/>
        <a:buChar char="•"/>
        <a:defRPr sz="2668" kern="1200">
          <a:solidFill>
            <a:schemeClr val="tx1"/>
          </a:solidFill>
          <a:latin typeface="+mn-lt"/>
          <a:ea typeface="+mn-ea"/>
          <a:cs typeface="+mn-cs"/>
        </a:defRPr>
      </a:lvl8pPr>
      <a:lvl9pPr marL="5181158" indent="-304775" algn="l" defTabSz="609549" rtl="0" eaLnBrk="1" latinLnBrk="0" hangingPunct="1">
        <a:spcBef>
          <a:spcPct val="20000"/>
        </a:spcBef>
        <a:buFont typeface="Arial"/>
        <a:buChar char="•"/>
        <a:defRPr sz="2668" kern="1200">
          <a:solidFill>
            <a:schemeClr val="tx1"/>
          </a:solidFill>
          <a:latin typeface="+mn-lt"/>
          <a:ea typeface="+mn-ea"/>
          <a:cs typeface="+mn-cs"/>
        </a:defRPr>
      </a:lvl9pPr>
    </p:bodyStyle>
    <p:otherStyle>
      <a:defPPr>
        <a:defRPr lang="en-US"/>
      </a:defPPr>
      <a:lvl1pPr marL="0" algn="l" defTabSz="609549" rtl="0" eaLnBrk="1" latinLnBrk="0" hangingPunct="1">
        <a:defRPr sz="2400" kern="1200">
          <a:solidFill>
            <a:schemeClr val="tx1"/>
          </a:solidFill>
          <a:latin typeface="+mn-lt"/>
          <a:ea typeface="+mn-ea"/>
          <a:cs typeface="+mn-cs"/>
        </a:defRPr>
      </a:lvl1pPr>
      <a:lvl2pPr marL="609549" algn="l" defTabSz="609549" rtl="0" eaLnBrk="1" latinLnBrk="0" hangingPunct="1">
        <a:defRPr sz="2400" kern="1200">
          <a:solidFill>
            <a:schemeClr val="tx1"/>
          </a:solidFill>
          <a:latin typeface="+mn-lt"/>
          <a:ea typeface="+mn-ea"/>
          <a:cs typeface="+mn-cs"/>
        </a:defRPr>
      </a:lvl2pPr>
      <a:lvl3pPr marL="1219096" algn="l" defTabSz="609549" rtl="0" eaLnBrk="1" latinLnBrk="0" hangingPunct="1">
        <a:defRPr sz="2400" kern="1200">
          <a:solidFill>
            <a:schemeClr val="tx1"/>
          </a:solidFill>
          <a:latin typeface="+mn-lt"/>
          <a:ea typeface="+mn-ea"/>
          <a:cs typeface="+mn-cs"/>
        </a:defRPr>
      </a:lvl3pPr>
      <a:lvl4pPr marL="1828645" algn="l" defTabSz="609549" rtl="0" eaLnBrk="1" latinLnBrk="0" hangingPunct="1">
        <a:defRPr sz="2400" kern="1200">
          <a:solidFill>
            <a:schemeClr val="tx1"/>
          </a:solidFill>
          <a:latin typeface="+mn-lt"/>
          <a:ea typeface="+mn-ea"/>
          <a:cs typeface="+mn-cs"/>
        </a:defRPr>
      </a:lvl4pPr>
      <a:lvl5pPr marL="2438194" algn="l" defTabSz="609549" rtl="0" eaLnBrk="1" latinLnBrk="0" hangingPunct="1">
        <a:defRPr sz="2400" kern="1200">
          <a:solidFill>
            <a:schemeClr val="tx1"/>
          </a:solidFill>
          <a:latin typeface="+mn-lt"/>
          <a:ea typeface="+mn-ea"/>
          <a:cs typeface="+mn-cs"/>
        </a:defRPr>
      </a:lvl5pPr>
      <a:lvl6pPr marL="3047740" algn="l" defTabSz="609549" rtl="0" eaLnBrk="1" latinLnBrk="0" hangingPunct="1">
        <a:defRPr sz="2400" kern="1200">
          <a:solidFill>
            <a:schemeClr val="tx1"/>
          </a:solidFill>
          <a:latin typeface="+mn-lt"/>
          <a:ea typeface="+mn-ea"/>
          <a:cs typeface="+mn-cs"/>
        </a:defRPr>
      </a:lvl6pPr>
      <a:lvl7pPr marL="3657289" algn="l" defTabSz="609549" rtl="0" eaLnBrk="1" latinLnBrk="0" hangingPunct="1">
        <a:defRPr sz="2400" kern="1200">
          <a:solidFill>
            <a:schemeClr val="tx1"/>
          </a:solidFill>
          <a:latin typeface="+mn-lt"/>
          <a:ea typeface="+mn-ea"/>
          <a:cs typeface="+mn-cs"/>
        </a:defRPr>
      </a:lvl7pPr>
      <a:lvl8pPr marL="4266837" algn="l" defTabSz="609549" rtl="0" eaLnBrk="1" latinLnBrk="0" hangingPunct="1">
        <a:defRPr sz="2400" kern="1200">
          <a:solidFill>
            <a:schemeClr val="tx1"/>
          </a:solidFill>
          <a:latin typeface="+mn-lt"/>
          <a:ea typeface="+mn-ea"/>
          <a:cs typeface="+mn-cs"/>
        </a:defRPr>
      </a:lvl8pPr>
      <a:lvl9pPr marL="4876385" algn="l" defTabSz="609549"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0E89C9BA-7E40-4CAA-AE3F-842A913E9A3F}"/>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655072754"/>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8" r:id="rId22"/>
    <p:sldLayoutId id="2147484039" r:id="rId23"/>
    <p:sldLayoutId id="2147484040" r:id="rId24"/>
  </p:sldLayoutIdLst>
  <p:hf hdr="0" dt="0"/>
  <p:txStyles>
    <p:titleStyle>
      <a:lvl1pPr algn="ctr" defTabSz="607846" rtl="0" eaLnBrk="0" fontAlgn="base" hangingPunct="0">
        <a:spcBef>
          <a:spcPct val="0"/>
        </a:spcBef>
        <a:spcAft>
          <a:spcPct val="0"/>
        </a:spcAft>
        <a:defRPr sz="5899" kern="1200">
          <a:solidFill>
            <a:schemeClr val="tx1"/>
          </a:solidFill>
          <a:latin typeface="+mj-lt"/>
          <a:ea typeface="+mj-ea"/>
          <a:cs typeface="+mj-cs"/>
        </a:defRPr>
      </a:lvl1pPr>
      <a:lvl2pPr algn="ctr" defTabSz="607846" rtl="0" eaLnBrk="0" fontAlgn="base" hangingPunct="0">
        <a:spcBef>
          <a:spcPct val="0"/>
        </a:spcBef>
        <a:spcAft>
          <a:spcPct val="0"/>
        </a:spcAft>
        <a:defRPr sz="5899">
          <a:solidFill>
            <a:schemeClr val="tx1"/>
          </a:solidFill>
          <a:latin typeface="Arial" charset="0"/>
        </a:defRPr>
      </a:lvl2pPr>
      <a:lvl3pPr algn="ctr" defTabSz="607846" rtl="0" eaLnBrk="0" fontAlgn="base" hangingPunct="0">
        <a:spcBef>
          <a:spcPct val="0"/>
        </a:spcBef>
        <a:spcAft>
          <a:spcPct val="0"/>
        </a:spcAft>
        <a:defRPr sz="5899">
          <a:solidFill>
            <a:schemeClr val="tx1"/>
          </a:solidFill>
          <a:latin typeface="Arial" charset="0"/>
        </a:defRPr>
      </a:lvl3pPr>
      <a:lvl4pPr algn="ctr" defTabSz="607846" rtl="0" eaLnBrk="0" fontAlgn="base" hangingPunct="0">
        <a:spcBef>
          <a:spcPct val="0"/>
        </a:spcBef>
        <a:spcAft>
          <a:spcPct val="0"/>
        </a:spcAft>
        <a:defRPr sz="5899">
          <a:solidFill>
            <a:schemeClr val="tx1"/>
          </a:solidFill>
          <a:latin typeface="Arial" charset="0"/>
        </a:defRPr>
      </a:lvl4pPr>
      <a:lvl5pPr algn="ctr" defTabSz="607846" rtl="0" eaLnBrk="0" fontAlgn="base" hangingPunct="0">
        <a:spcBef>
          <a:spcPct val="0"/>
        </a:spcBef>
        <a:spcAft>
          <a:spcPct val="0"/>
        </a:spcAft>
        <a:defRPr sz="5899">
          <a:solidFill>
            <a:schemeClr val="tx1"/>
          </a:solidFill>
          <a:latin typeface="Arial" charset="0"/>
        </a:defRPr>
      </a:lvl5pPr>
      <a:lvl6pPr marL="457075" algn="ctr" defTabSz="607846" rtl="0" fontAlgn="base">
        <a:spcBef>
          <a:spcPct val="0"/>
        </a:spcBef>
        <a:spcAft>
          <a:spcPct val="0"/>
        </a:spcAft>
        <a:defRPr sz="5899">
          <a:solidFill>
            <a:schemeClr val="tx1"/>
          </a:solidFill>
          <a:latin typeface="Arial" charset="0"/>
        </a:defRPr>
      </a:lvl6pPr>
      <a:lvl7pPr marL="914148" algn="ctr" defTabSz="607846" rtl="0" fontAlgn="base">
        <a:spcBef>
          <a:spcPct val="0"/>
        </a:spcBef>
        <a:spcAft>
          <a:spcPct val="0"/>
        </a:spcAft>
        <a:defRPr sz="5899">
          <a:solidFill>
            <a:schemeClr val="tx1"/>
          </a:solidFill>
          <a:latin typeface="Arial" charset="0"/>
        </a:defRPr>
      </a:lvl7pPr>
      <a:lvl8pPr marL="1371223" algn="ctr" defTabSz="607846" rtl="0" fontAlgn="base">
        <a:spcBef>
          <a:spcPct val="0"/>
        </a:spcBef>
        <a:spcAft>
          <a:spcPct val="0"/>
        </a:spcAft>
        <a:defRPr sz="5899">
          <a:solidFill>
            <a:schemeClr val="tx1"/>
          </a:solidFill>
          <a:latin typeface="Arial" charset="0"/>
        </a:defRPr>
      </a:lvl8pPr>
      <a:lvl9pPr marL="1828297" algn="ctr" defTabSz="607846" rtl="0" fontAlgn="base">
        <a:spcBef>
          <a:spcPct val="0"/>
        </a:spcBef>
        <a:spcAft>
          <a:spcPct val="0"/>
        </a:spcAft>
        <a:defRPr sz="5899">
          <a:solidFill>
            <a:schemeClr val="tx1"/>
          </a:solidFill>
          <a:latin typeface="Arial" charset="0"/>
        </a:defRPr>
      </a:lvl9pPr>
    </p:titleStyle>
    <p:bodyStyle>
      <a:lvl1pPr marL="455487" indent="-455487" algn="l" defTabSz="607846" rtl="0" eaLnBrk="0" fontAlgn="base" hangingPunct="0">
        <a:spcBef>
          <a:spcPct val="20000"/>
        </a:spcBef>
        <a:spcAft>
          <a:spcPct val="0"/>
        </a:spcAft>
        <a:buFont typeface="Arial" panose="020B0604020202020204" pitchFamily="34" charset="0"/>
        <a:buChar char="•"/>
        <a:defRPr sz="4299" kern="1200">
          <a:solidFill>
            <a:schemeClr val="tx1"/>
          </a:solidFill>
          <a:latin typeface="+mn-lt"/>
          <a:ea typeface="+mn-ea"/>
          <a:cs typeface="+mn-cs"/>
        </a:defRPr>
      </a:lvl1pPr>
      <a:lvl2pPr marL="988742" indent="-379309" algn="l" defTabSz="607846" rtl="0" eaLnBrk="0" fontAlgn="base" hangingPunct="0">
        <a:spcBef>
          <a:spcPct val="20000"/>
        </a:spcBef>
        <a:spcAft>
          <a:spcPct val="0"/>
        </a:spcAft>
        <a:buFont typeface="Arial" panose="020B0604020202020204" pitchFamily="34" charset="0"/>
        <a:buChar char="–"/>
        <a:defRPr sz="3699" kern="1200">
          <a:solidFill>
            <a:schemeClr val="tx1"/>
          </a:solidFill>
          <a:latin typeface="+mn-lt"/>
          <a:ea typeface="+mn-ea"/>
          <a:cs typeface="+mn-cs"/>
        </a:defRPr>
      </a:lvl2pPr>
      <a:lvl3pPr marL="1521995" indent="-303131" algn="l" defTabSz="607846" rtl="0" eaLnBrk="0" fontAlgn="base" hangingPunct="0">
        <a:spcBef>
          <a:spcPct val="20000"/>
        </a:spcBef>
        <a:spcAft>
          <a:spcPct val="0"/>
        </a:spcAft>
        <a:buFont typeface="Arial" panose="020B0604020202020204" pitchFamily="34" charset="0"/>
        <a:buChar char="•"/>
        <a:defRPr sz="3199" kern="1200">
          <a:solidFill>
            <a:schemeClr val="tx1"/>
          </a:solidFill>
          <a:latin typeface="+mn-lt"/>
          <a:ea typeface="+mn-ea"/>
          <a:cs typeface="+mn-cs"/>
        </a:defRPr>
      </a:lvl3pPr>
      <a:lvl4pPr marL="2131427" indent="-303131" algn="l" defTabSz="607846" rtl="0" eaLnBrk="0" fontAlgn="base" hangingPunct="0">
        <a:spcBef>
          <a:spcPct val="20000"/>
        </a:spcBef>
        <a:spcAft>
          <a:spcPct val="0"/>
        </a:spcAft>
        <a:buFont typeface="Arial" panose="020B0604020202020204" pitchFamily="34" charset="0"/>
        <a:buChar char="–"/>
        <a:defRPr sz="2699" kern="1200">
          <a:solidFill>
            <a:schemeClr val="tx1"/>
          </a:solidFill>
          <a:latin typeface="+mn-lt"/>
          <a:ea typeface="+mn-ea"/>
          <a:cs typeface="+mn-cs"/>
        </a:defRPr>
      </a:lvl4pPr>
      <a:lvl5pPr marL="2740859" indent="-303131" algn="l" defTabSz="607846" rtl="0" eaLnBrk="0" fontAlgn="base" hangingPunct="0">
        <a:spcBef>
          <a:spcPct val="20000"/>
        </a:spcBef>
        <a:spcAft>
          <a:spcPct val="0"/>
        </a:spcAft>
        <a:buFont typeface="Arial" panose="020B0604020202020204" pitchFamily="34" charset="0"/>
        <a:buChar char="»"/>
        <a:defRPr sz="2699" kern="1200">
          <a:solidFill>
            <a:schemeClr val="tx1"/>
          </a:solidFill>
          <a:latin typeface="+mn-lt"/>
          <a:ea typeface="+mn-ea"/>
          <a:cs typeface="+mn-cs"/>
        </a:defRPr>
      </a:lvl5pPr>
      <a:lvl6pPr marL="3351151" indent="-304651" algn="l" defTabSz="609301" rtl="0" eaLnBrk="1" latinLnBrk="0" hangingPunct="1">
        <a:spcBef>
          <a:spcPct val="20000"/>
        </a:spcBef>
        <a:buFont typeface="Arial"/>
        <a:buChar char="•"/>
        <a:defRPr sz="2699" kern="1200">
          <a:solidFill>
            <a:schemeClr val="tx1"/>
          </a:solidFill>
          <a:latin typeface="+mn-lt"/>
          <a:ea typeface="+mn-ea"/>
          <a:cs typeface="+mn-cs"/>
        </a:defRPr>
      </a:lvl6pPr>
      <a:lvl7pPr marL="3960452" indent="-304651" algn="l" defTabSz="609301" rtl="0" eaLnBrk="1" latinLnBrk="0" hangingPunct="1">
        <a:spcBef>
          <a:spcPct val="20000"/>
        </a:spcBef>
        <a:buFont typeface="Arial"/>
        <a:buChar char="•"/>
        <a:defRPr sz="2699" kern="1200">
          <a:solidFill>
            <a:schemeClr val="tx1"/>
          </a:solidFill>
          <a:latin typeface="+mn-lt"/>
          <a:ea typeface="+mn-ea"/>
          <a:cs typeface="+mn-cs"/>
        </a:defRPr>
      </a:lvl7pPr>
      <a:lvl8pPr marL="4569752" indent="-304651" algn="l" defTabSz="609301" rtl="0" eaLnBrk="1" latinLnBrk="0" hangingPunct="1">
        <a:spcBef>
          <a:spcPct val="20000"/>
        </a:spcBef>
        <a:buFont typeface="Arial"/>
        <a:buChar char="•"/>
        <a:defRPr sz="2699" kern="1200">
          <a:solidFill>
            <a:schemeClr val="tx1"/>
          </a:solidFill>
          <a:latin typeface="+mn-lt"/>
          <a:ea typeface="+mn-ea"/>
          <a:cs typeface="+mn-cs"/>
        </a:defRPr>
      </a:lvl8pPr>
      <a:lvl9pPr marL="5179053" indent="-304651" algn="l" defTabSz="609301" rtl="0" eaLnBrk="1" latinLnBrk="0" hangingPunct="1">
        <a:spcBef>
          <a:spcPct val="20000"/>
        </a:spcBef>
        <a:buFont typeface="Arial"/>
        <a:buChar char="•"/>
        <a:defRPr sz="2699" kern="1200">
          <a:solidFill>
            <a:schemeClr val="tx1"/>
          </a:solidFill>
          <a:latin typeface="+mn-lt"/>
          <a:ea typeface="+mn-ea"/>
          <a:cs typeface="+mn-cs"/>
        </a:defRPr>
      </a:lvl9pPr>
    </p:bodyStyle>
    <p:otherStyle>
      <a:defPPr>
        <a:defRPr lang="en-US"/>
      </a:defPPr>
      <a:lvl1pPr marL="0" algn="l" defTabSz="609301" rtl="0" eaLnBrk="1" latinLnBrk="0" hangingPunct="1">
        <a:defRPr sz="2399" kern="1200">
          <a:solidFill>
            <a:schemeClr val="tx1"/>
          </a:solidFill>
          <a:latin typeface="+mn-lt"/>
          <a:ea typeface="+mn-ea"/>
          <a:cs typeface="+mn-cs"/>
        </a:defRPr>
      </a:lvl1pPr>
      <a:lvl2pPr marL="609301" algn="l" defTabSz="609301" rtl="0" eaLnBrk="1" latinLnBrk="0" hangingPunct="1">
        <a:defRPr sz="2399" kern="1200">
          <a:solidFill>
            <a:schemeClr val="tx1"/>
          </a:solidFill>
          <a:latin typeface="+mn-lt"/>
          <a:ea typeface="+mn-ea"/>
          <a:cs typeface="+mn-cs"/>
        </a:defRPr>
      </a:lvl2pPr>
      <a:lvl3pPr marL="1218600" algn="l" defTabSz="609301" rtl="0" eaLnBrk="1" latinLnBrk="0" hangingPunct="1">
        <a:defRPr sz="2399" kern="1200">
          <a:solidFill>
            <a:schemeClr val="tx1"/>
          </a:solidFill>
          <a:latin typeface="+mn-lt"/>
          <a:ea typeface="+mn-ea"/>
          <a:cs typeface="+mn-cs"/>
        </a:defRPr>
      </a:lvl3pPr>
      <a:lvl4pPr marL="1827901" algn="l" defTabSz="609301" rtl="0" eaLnBrk="1" latinLnBrk="0" hangingPunct="1">
        <a:defRPr sz="2399" kern="1200">
          <a:solidFill>
            <a:schemeClr val="tx1"/>
          </a:solidFill>
          <a:latin typeface="+mn-lt"/>
          <a:ea typeface="+mn-ea"/>
          <a:cs typeface="+mn-cs"/>
        </a:defRPr>
      </a:lvl4pPr>
      <a:lvl5pPr marL="2437202" algn="l" defTabSz="609301" rtl="0" eaLnBrk="1" latinLnBrk="0" hangingPunct="1">
        <a:defRPr sz="2399" kern="1200">
          <a:solidFill>
            <a:schemeClr val="tx1"/>
          </a:solidFill>
          <a:latin typeface="+mn-lt"/>
          <a:ea typeface="+mn-ea"/>
          <a:cs typeface="+mn-cs"/>
        </a:defRPr>
      </a:lvl5pPr>
      <a:lvl6pPr marL="3046503" algn="l" defTabSz="609301" rtl="0" eaLnBrk="1" latinLnBrk="0" hangingPunct="1">
        <a:defRPr sz="2399" kern="1200">
          <a:solidFill>
            <a:schemeClr val="tx1"/>
          </a:solidFill>
          <a:latin typeface="+mn-lt"/>
          <a:ea typeface="+mn-ea"/>
          <a:cs typeface="+mn-cs"/>
        </a:defRPr>
      </a:lvl6pPr>
      <a:lvl7pPr marL="3655803" algn="l" defTabSz="609301" rtl="0" eaLnBrk="1" latinLnBrk="0" hangingPunct="1">
        <a:defRPr sz="2399" kern="1200">
          <a:solidFill>
            <a:schemeClr val="tx1"/>
          </a:solidFill>
          <a:latin typeface="+mn-lt"/>
          <a:ea typeface="+mn-ea"/>
          <a:cs typeface="+mn-cs"/>
        </a:defRPr>
      </a:lvl7pPr>
      <a:lvl8pPr marL="4265101" algn="l" defTabSz="609301" rtl="0" eaLnBrk="1" latinLnBrk="0" hangingPunct="1">
        <a:defRPr sz="2399" kern="1200">
          <a:solidFill>
            <a:schemeClr val="tx1"/>
          </a:solidFill>
          <a:latin typeface="+mn-lt"/>
          <a:ea typeface="+mn-ea"/>
          <a:cs typeface="+mn-cs"/>
        </a:defRPr>
      </a:lvl8pPr>
      <a:lvl9pPr marL="4874403" algn="l" defTabSz="609301" rtl="0" eaLnBrk="1" latinLnBrk="0" hangingPunct="1">
        <a:defRPr sz="23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0E89C9BA-7E40-4CAA-AE3F-842A913E9A3F}"/>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321467494"/>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609563" rtl="0" eaLnBrk="1" latinLnBrk="0" hangingPunct="1">
        <a:spcBef>
          <a:spcPct val="0"/>
        </a:spcBef>
        <a:buNone/>
        <a:defRPr sz="5867" kern="1200">
          <a:solidFill>
            <a:schemeClr val="tx1"/>
          </a:solidFill>
          <a:latin typeface="+mj-lt"/>
          <a:ea typeface="+mj-ea"/>
          <a:cs typeface="+mj-cs"/>
        </a:defRPr>
      </a:lvl1pPr>
    </p:titleStyle>
    <p:bodyStyle>
      <a:lvl1pPr marL="457173" indent="-457173" algn="l" defTabSz="609563" rtl="0" eaLnBrk="1" latinLnBrk="0" hangingPunct="1">
        <a:spcBef>
          <a:spcPct val="20000"/>
        </a:spcBef>
        <a:buFont typeface="Arial"/>
        <a:buChar char="•"/>
        <a:defRPr sz="4267" kern="1200">
          <a:solidFill>
            <a:schemeClr val="tx1"/>
          </a:solidFill>
          <a:latin typeface="+mn-lt"/>
          <a:ea typeface="+mn-ea"/>
          <a:cs typeface="+mn-cs"/>
        </a:defRPr>
      </a:lvl1pPr>
      <a:lvl2pPr marL="990541" indent="-380977" algn="l" defTabSz="609563" rtl="0" eaLnBrk="1" latinLnBrk="0" hangingPunct="1">
        <a:spcBef>
          <a:spcPct val="20000"/>
        </a:spcBef>
        <a:buFont typeface="Arial"/>
        <a:buChar char="–"/>
        <a:defRPr sz="3733" kern="1200">
          <a:solidFill>
            <a:schemeClr val="tx1"/>
          </a:solidFill>
          <a:latin typeface="+mn-lt"/>
          <a:ea typeface="+mn-ea"/>
          <a:cs typeface="+mn-cs"/>
        </a:defRPr>
      </a:lvl2pPr>
      <a:lvl3pPr marL="1523909" indent="-304782" algn="l" defTabSz="609563" rtl="0" eaLnBrk="1" latinLnBrk="0" hangingPunct="1">
        <a:spcBef>
          <a:spcPct val="20000"/>
        </a:spcBef>
        <a:buFont typeface="Arial"/>
        <a:buChar char="•"/>
        <a:defRPr sz="3200" kern="1200">
          <a:solidFill>
            <a:schemeClr val="tx1"/>
          </a:solidFill>
          <a:latin typeface="+mn-lt"/>
          <a:ea typeface="+mn-ea"/>
          <a:cs typeface="+mn-cs"/>
        </a:defRPr>
      </a:lvl3pPr>
      <a:lvl4pPr marL="2133472" indent="-304782" algn="l" defTabSz="609563" rtl="0" eaLnBrk="1" latinLnBrk="0" hangingPunct="1">
        <a:spcBef>
          <a:spcPct val="20000"/>
        </a:spcBef>
        <a:buFont typeface="Arial"/>
        <a:buChar char="–"/>
        <a:defRPr sz="2667" kern="1200">
          <a:solidFill>
            <a:schemeClr val="tx1"/>
          </a:solidFill>
          <a:latin typeface="+mn-lt"/>
          <a:ea typeface="+mn-ea"/>
          <a:cs typeface="+mn-cs"/>
        </a:defRPr>
      </a:lvl4pPr>
      <a:lvl5pPr marL="2743035" indent="-304782" algn="l" defTabSz="609563" rtl="0" eaLnBrk="1" latinLnBrk="0" hangingPunct="1">
        <a:spcBef>
          <a:spcPct val="20000"/>
        </a:spcBef>
        <a:buFont typeface="Arial"/>
        <a:buChar char="»"/>
        <a:defRPr sz="2667" kern="1200">
          <a:solidFill>
            <a:schemeClr val="tx1"/>
          </a:solidFill>
          <a:latin typeface="+mn-lt"/>
          <a:ea typeface="+mn-ea"/>
          <a:cs typeface="+mn-cs"/>
        </a:defRPr>
      </a:lvl5pPr>
      <a:lvl6pPr marL="3352598" indent="-304782" algn="l" defTabSz="609563" rtl="0" eaLnBrk="1" latinLnBrk="0" hangingPunct="1">
        <a:spcBef>
          <a:spcPct val="20000"/>
        </a:spcBef>
        <a:buFont typeface="Arial"/>
        <a:buChar char="•"/>
        <a:defRPr sz="2667" kern="1200">
          <a:solidFill>
            <a:schemeClr val="tx1"/>
          </a:solidFill>
          <a:latin typeface="+mn-lt"/>
          <a:ea typeface="+mn-ea"/>
          <a:cs typeface="+mn-cs"/>
        </a:defRPr>
      </a:lvl6pPr>
      <a:lvl7pPr marL="3962161" indent="-304782" algn="l" defTabSz="609563" rtl="0" eaLnBrk="1" latinLnBrk="0" hangingPunct="1">
        <a:spcBef>
          <a:spcPct val="20000"/>
        </a:spcBef>
        <a:buFont typeface="Arial"/>
        <a:buChar char="•"/>
        <a:defRPr sz="2667" kern="1200">
          <a:solidFill>
            <a:schemeClr val="tx1"/>
          </a:solidFill>
          <a:latin typeface="+mn-lt"/>
          <a:ea typeface="+mn-ea"/>
          <a:cs typeface="+mn-cs"/>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9"/>
            </p:custData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7" name="Object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344085" y="306917"/>
            <a:ext cx="11511375" cy="492443"/>
          </a:xfrm>
          <a:prstGeom prst="rect">
            <a:avLst/>
          </a:prstGeom>
        </p:spPr>
        <p:txBody>
          <a:bodyPr vert="horz" lIns="0" tIns="0" rIns="0" bIns="0" rtlCol="0" anchor="t">
            <a:spAutoFit/>
          </a:bodyPr>
          <a:lstStyle/>
          <a:p>
            <a:r>
              <a:rPr lang="en-US" dirty="0"/>
              <a:t>Click To Edit Master Title Style</a:t>
            </a:r>
          </a:p>
        </p:txBody>
      </p:sp>
      <p:sp>
        <p:nvSpPr>
          <p:cNvPr id="11" name="Text Placeholder 2"/>
          <p:cNvSpPr>
            <a:spLocks noGrp="1"/>
          </p:cNvSpPr>
          <p:nvPr>
            <p:ph type="body" idx="1"/>
          </p:nvPr>
        </p:nvSpPr>
        <p:spPr>
          <a:xfrm>
            <a:off x="336555" y="1604436"/>
            <a:ext cx="11518900" cy="276998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8" name="Slide Number Placeholder 5"/>
          <p:cNvSpPr>
            <a:spLocks noGrp="1"/>
          </p:cNvSpPr>
          <p:nvPr>
            <p:ph type="sldNum" sz="quarter" idx="4"/>
          </p:nvPr>
        </p:nvSpPr>
        <p:spPr>
          <a:xfrm>
            <a:off x="2330521" y="647621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63">
              <a:defRPr/>
            </a:pPr>
            <a:r>
              <a:rPr lang="en-US">
                <a:solidFill>
                  <a:srgbClr val="3DCD58"/>
                </a:solidFill>
              </a:rPr>
              <a:t>Page </a:t>
            </a:r>
            <a:fld id="{5A9C12DC-491F-9444-86A2-13AC5C62A2FC}" type="slidenum">
              <a:rPr lang="en-US" smtClean="0">
                <a:solidFill>
                  <a:srgbClr val="3DCD58"/>
                </a:solidFill>
              </a:rPr>
              <a:pPr defTabSz="609463">
                <a:defRPr/>
              </a:pPr>
              <a:t>‹#›</a:t>
            </a:fld>
            <a:endParaRPr lang="en-US" dirty="0">
              <a:solidFill>
                <a:srgbClr val="3DCD58"/>
              </a:solidFill>
            </a:endParaRPr>
          </a:p>
        </p:txBody>
      </p:sp>
      <p:sp>
        <p:nvSpPr>
          <p:cNvPr id="9" name="Footer Placeholder 4"/>
          <p:cNvSpPr>
            <a:spLocks noGrp="1"/>
          </p:cNvSpPr>
          <p:nvPr>
            <p:ph type="ftr" sz="quarter" idx="3"/>
          </p:nvPr>
        </p:nvSpPr>
        <p:spPr>
          <a:xfrm>
            <a:off x="336559"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63">
              <a:defRPr/>
            </a:pPr>
            <a:r>
              <a:rPr lang="en-US">
                <a:solidFill>
                  <a:srgbClr val="626469"/>
                </a:solidFill>
              </a:rPr>
              <a:t>Confidential Property of Schneider Electric |</a:t>
            </a:r>
            <a:endParaRPr lang="en-US" dirty="0">
              <a:solidFill>
                <a:srgbClr val="626469"/>
              </a:solidFill>
            </a:endParaRPr>
          </a:p>
        </p:txBody>
      </p:sp>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4C900080-F41A-4A08-9564-B7B1F039892F}"/>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635264360"/>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5" r:id="rId26"/>
    <p:sldLayoutId id="2147484086"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463" rtl="0" eaLnBrk="1" latinLnBrk="0" hangingPunct="1">
        <a:spcBef>
          <a:spcPct val="0"/>
        </a:spcBef>
        <a:buNone/>
        <a:defRPr sz="3200" kern="1200">
          <a:solidFill>
            <a:srgbClr val="36C746"/>
          </a:solidFill>
          <a:latin typeface="Arial"/>
          <a:ea typeface="+mj-ea"/>
          <a:cs typeface="Arial"/>
        </a:defRPr>
      </a:lvl1pPr>
    </p:titleStyle>
    <p:bodyStyle>
      <a:lvl1pPr marL="230670" indent="-209504" algn="l" defTabSz="609463" rtl="0" eaLnBrk="1" latinLnBrk="0" hangingPunct="1">
        <a:spcBef>
          <a:spcPts val="667"/>
        </a:spcBef>
        <a:spcAft>
          <a:spcPts val="667"/>
        </a:spcAft>
        <a:buClr>
          <a:schemeClr val="bg2"/>
        </a:buClr>
        <a:buFont typeface="Arial" panose="020B0604020202020204" pitchFamily="34" charset="0"/>
        <a:buChar char="•"/>
        <a:defRPr sz="1867" kern="1200">
          <a:solidFill>
            <a:schemeClr val="accent1"/>
          </a:solidFill>
          <a:latin typeface="Arial"/>
          <a:ea typeface="+mn-ea"/>
          <a:cs typeface="Arial"/>
        </a:defRPr>
      </a:lvl1pPr>
      <a:lvl2pPr marL="482496" indent="-243367" algn="l" defTabSz="596773" rtl="0" eaLnBrk="1" latinLnBrk="0" hangingPunct="1">
        <a:spcBef>
          <a:spcPts val="667"/>
        </a:spcBef>
        <a:spcAft>
          <a:spcPts val="667"/>
        </a:spcAft>
        <a:buClr>
          <a:srgbClr val="36C746"/>
        </a:buClr>
        <a:buFont typeface="Arial"/>
        <a:buChar char="•"/>
        <a:defRPr sz="1600" kern="1200">
          <a:solidFill>
            <a:schemeClr val="accent1"/>
          </a:solidFill>
          <a:latin typeface="Arial"/>
          <a:ea typeface="+mn-ea"/>
          <a:cs typeface="Arial"/>
        </a:defRPr>
      </a:lvl2pPr>
      <a:lvl3pPr marL="717395" indent="-239131" algn="l" defTabSz="609463" rtl="0" eaLnBrk="1" latinLnBrk="0" hangingPunct="1">
        <a:spcBef>
          <a:spcPts val="667"/>
        </a:spcBef>
        <a:spcAft>
          <a:spcPts val="667"/>
        </a:spcAft>
        <a:buClr>
          <a:srgbClr val="36C746"/>
        </a:buClr>
        <a:buFont typeface="Arial" panose="020B0604020202020204" pitchFamily="34" charset="0"/>
        <a:buChar char="–"/>
        <a:defRPr sz="1467" kern="1200">
          <a:solidFill>
            <a:schemeClr val="accent1"/>
          </a:solidFill>
          <a:latin typeface="Arial"/>
          <a:ea typeface="+mn-ea"/>
          <a:cs typeface="Arial"/>
        </a:defRPr>
      </a:lvl3pPr>
      <a:lvl4pPr marL="958643" indent="-239131" algn="l" defTabSz="609463" rtl="0" eaLnBrk="1" latinLnBrk="0" hangingPunct="1">
        <a:spcBef>
          <a:spcPts val="667"/>
        </a:spcBef>
        <a:spcAft>
          <a:spcPts val="667"/>
        </a:spcAft>
        <a:buClr>
          <a:srgbClr val="36C746"/>
        </a:buClr>
        <a:buFont typeface="Arial" panose="020B0604020202020204" pitchFamily="34" charset="0"/>
        <a:buChar char="–"/>
        <a:defRPr sz="1467" kern="1200">
          <a:solidFill>
            <a:schemeClr val="accent1"/>
          </a:solidFill>
          <a:latin typeface="Arial"/>
          <a:ea typeface="+mn-ea"/>
          <a:cs typeface="Arial"/>
        </a:defRPr>
      </a:lvl4pPr>
      <a:lvl5pPr marL="1195659" indent="-247598" algn="l" defTabSz="609463" rtl="0" eaLnBrk="1" latinLnBrk="0" hangingPunct="1">
        <a:spcBef>
          <a:spcPts val="667"/>
        </a:spcBef>
        <a:spcAft>
          <a:spcPts val="667"/>
        </a:spcAft>
        <a:buClr>
          <a:srgbClr val="36C746"/>
        </a:buClr>
        <a:buFont typeface="Arial" panose="020B0604020202020204" pitchFamily="34" charset="0"/>
        <a:buChar char="–"/>
        <a:defRPr sz="1467" kern="1200">
          <a:solidFill>
            <a:schemeClr val="accent1"/>
          </a:solidFill>
          <a:latin typeface="Arial"/>
          <a:ea typeface="+mn-ea"/>
          <a:cs typeface="Arial"/>
        </a:defRPr>
      </a:lvl5pPr>
      <a:lvl6pPr marL="1194557" indent="-243787" algn="l" defTabSz="609463" rtl="0" eaLnBrk="1" latinLnBrk="0" hangingPunct="1">
        <a:spcBef>
          <a:spcPts val="667"/>
        </a:spcBef>
        <a:spcAft>
          <a:spcPts val="667"/>
        </a:spcAft>
        <a:buClr>
          <a:schemeClr val="bg2"/>
        </a:buClr>
        <a:buFont typeface="Arial" panose="020B0604020202020204" pitchFamily="34" charset="0"/>
        <a:buChar char="–"/>
        <a:defRPr sz="1467" kern="1200" baseline="0">
          <a:solidFill>
            <a:schemeClr val="accent1"/>
          </a:solidFill>
          <a:latin typeface="Arial" panose="020B0604020202020204" pitchFamily="34" charset="0"/>
          <a:ea typeface="+mn-ea"/>
          <a:cs typeface="Arial" panose="020B0604020202020204" pitchFamily="34" charset="0"/>
        </a:defRPr>
      </a:lvl6pPr>
      <a:lvl7pPr marL="1194557" indent="-243787" algn="l" defTabSz="609463" rtl="0" eaLnBrk="1" latinLnBrk="0" hangingPunct="1">
        <a:spcBef>
          <a:spcPts val="667"/>
        </a:spcBef>
        <a:spcAft>
          <a:spcPts val="667"/>
        </a:spcAft>
        <a:buClr>
          <a:schemeClr val="bg2"/>
        </a:buClr>
        <a:buFont typeface="Arial" panose="020B0604020202020204" pitchFamily="34" charset="0"/>
        <a:buChar char="–"/>
        <a:defRPr sz="1467" kern="1200">
          <a:solidFill>
            <a:schemeClr val="accent1"/>
          </a:solidFill>
          <a:latin typeface="Arial" panose="020B0604020202020204" pitchFamily="34" charset="0"/>
          <a:ea typeface="+mn-ea"/>
          <a:cs typeface="Arial" panose="020B0604020202020204" pitchFamily="34" charset="0"/>
        </a:defRPr>
      </a:lvl7pPr>
      <a:lvl8pPr marL="4571010" indent="-304732" algn="l" defTabSz="609463" rtl="0" eaLnBrk="1" latinLnBrk="0" hangingPunct="1">
        <a:spcBef>
          <a:spcPct val="20000"/>
        </a:spcBef>
        <a:buFont typeface="Arial"/>
        <a:buChar char="•"/>
        <a:defRPr sz="2667" kern="1200">
          <a:solidFill>
            <a:schemeClr val="tx1"/>
          </a:solidFill>
          <a:latin typeface="+mn-lt"/>
          <a:ea typeface="+mn-ea"/>
          <a:cs typeface="+mn-cs"/>
        </a:defRPr>
      </a:lvl8pPr>
      <a:lvl9pPr marL="5180478" indent="-304732" algn="l" defTabSz="6094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63" rtl="0" eaLnBrk="1" latinLnBrk="0" hangingPunct="1">
        <a:defRPr sz="2400" kern="1200">
          <a:solidFill>
            <a:schemeClr val="tx1"/>
          </a:solidFill>
          <a:latin typeface="+mn-lt"/>
          <a:ea typeface="+mn-ea"/>
          <a:cs typeface="+mn-cs"/>
        </a:defRPr>
      </a:lvl1pPr>
      <a:lvl2pPr marL="609463" algn="l" defTabSz="609463" rtl="0" eaLnBrk="1" latinLnBrk="0" hangingPunct="1">
        <a:defRPr sz="2400" kern="1200">
          <a:solidFill>
            <a:schemeClr val="tx1"/>
          </a:solidFill>
          <a:latin typeface="+mn-lt"/>
          <a:ea typeface="+mn-ea"/>
          <a:cs typeface="+mn-cs"/>
        </a:defRPr>
      </a:lvl2pPr>
      <a:lvl3pPr marL="1218938" algn="l" defTabSz="609463" rtl="0" eaLnBrk="1" latinLnBrk="0" hangingPunct="1">
        <a:defRPr sz="2400" kern="1200">
          <a:solidFill>
            <a:schemeClr val="tx1"/>
          </a:solidFill>
          <a:latin typeface="+mn-lt"/>
          <a:ea typeface="+mn-ea"/>
          <a:cs typeface="+mn-cs"/>
        </a:defRPr>
      </a:lvl3pPr>
      <a:lvl4pPr marL="1828406" algn="l" defTabSz="609463" rtl="0" eaLnBrk="1" latinLnBrk="0" hangingPunct="1">
        <a:defRPr sz="2400" kern="1200">
          <a:solidFill>
            <a:schemeClr val="tx1"/>
          </a:solidFill>
          <a:latin typeface="+mn-lt"/>
          <a:ea typeface="+mn-ea"/>
          <a:cs typeface="+mn-cs"/>
        </a:defRPr>
      </a:lvl4pPr>
      <a:lvl5pPr marL="2437878" algn="l" defTabSz="609463" rtl="0" eaLnBrk="1" latinLnBrk="0" hangingPunct="1">
        <a:defRPr sz="2400" kern="1200">
          <a:solidFill>
            <a:schemeClr val="tx1"/>
          </a:solidFill>
          <a:latin typeface="+mn-lt"/>
          <a:ea typeface="+mn-ea"/>
          <a:cs typeface="+mn-cs"/>
        </a:defRPr>
      </a:lvl5pPr>
      <a:lvl6pPr marL="3047341" algn="l" defTabSz="609463" rtl="0" eaLnBrk="1" latinLnBrk="0" hangingPunct="1">
        <a:defRPr sz="2400" kern="1200">
          <a:solidFill>
            <a:schemeClr val="tx1"/>
          </a:solidFill>
          <a:latin typeface="+mn-lt"/>
          <a:ea typeface="+mn-ea"/>
          <a:cs typeface="+mn-cs"/>
        </a:defRPr>
      </a:lvl6pPr>
      <a:lvl7pPr marL="3656807" algn="l" defTabSz="609463" rtl="0" eaLnBrk="1" latinLnBrk="0" hangingPunct="1">
        <a:defRPr sz="2400" kern="1200">
          <a:solidFill>
            <a:schemeClr val="tx1"/>
          </a:solidFill>
          <a:latin typeface="+mn-lt"/>
          <a:ea typeface="+mn-ea"/>
          <a:cs typeface="+mn-cs"/>
        </a:defRPr>
      </a:lvl7pPr>
      <a:lvl8pPr marL="4266275" algn="l" defTabSz="609463" rtl="0" eaLnBrk="1" latinLnBrk="0" hangingPunct="1">
        <a:defRPr sz="2400" kern="1200">
          <a:solidFill>
            <a:schemeClr val="tx1"/>
          </a:solidFill>
          <a:latin typeface="+mn-lt"/>
          <a:ea typeface="+mn-ea"/>
          <a:cs typeface="+mn-cs"/>
        </a:defRPr>
      </a:lvl8pPr>
      <a:lvl9pPr marL="4875743" algn="l" defTabSz="609463"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7" y="306917"/>
            <a:ext cx="11511375"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3"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print"/>
          <a:stretch>
            <a:fillRect/>
          </a:stretch>
        </p:blipFill>
        <p:spPr>
          <a:xfrm>
            <a:off x="9422712" y="5993330"/>
            <a:ext cx="2722397" cy="750604"/>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D2E16E15-BF90-4171-825E-8490DF2F683B}"/>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356656277"/>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80" y="306917"/>
            <a:ext cx="11511375"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7" cstate="screen"/>
          <a:stretch>
            <a:fillRect/>
          </a:stretch>
        </p:blipFill>
        <p:spPr>
          <a:xfrm>
            <a:off x="9422712" y="5993331"/>
            <a:ext cx="2722397" cy="750604"/>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695F6FE9-92DC-46FE-BE95-7BBBCA3AC386}"/>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408874768"/>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371" rtl="0" eaLnBrk="1" latinLnBrk="0" hangingPunct="1">
        <a:spcBef>
          <a:spcPct val="0"/>
        </a:spcBef>
        <a:buNone/>
        <a:defRPr sz="3199" kern="1200">
          <a:solidFill>
            <a:srgbClr val="36C746"/>
          </a:solidFill>
          <a:latin typeface="Arial"/>
          <a:ea typeface="+mj-ea"/>
          <a:cs typeface="Arial"/>
        </a:defRPr>
      </a:lvl1pPr>
    </p:titleStyle>
    <p:bodyStyle>
      <a:lvl1pPr marL="230632" indent="-209472" algn="l" defTabSz="609371"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419" indent="-243329" algn="l" defTabSz="59667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281" indent="-239093" algn="l" defTabSz="609371"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491" indent="-239093" algn="l" defTabSz="609371"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466" indent="-247556" algn="l" defTabSz="609371"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365" indent="-243749" algn="l" defTabSz="609371"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365" indent="-243749" algn="l" defTabSz="609371"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0278" indent="-304684" algn="l" defTabSz="609371" rtl="0" eaLnBrk="1" latinLnBrk="0" hangingPunct="1">
        <a:spcBef>
          <a:spcPct val="20000"/>
        </a:spcBef>
        <a:buFont typeface="Arial"/>
        <a:buChar char="•"/>
        <a:defRPr sz="2667" kern="1200">
          <a:solidFill>
            <a:schemeClr val="tx1"/>
          </a:solidFill>
          <a:latin typeface="+mn-lt"/>
          <a:ea typeface="+mn-ea"/>
          <a:cs typeface="+mn-cs"/>
        </a:defRPr>
      </a:lvl8pPr>
      <a:lvl9pPr marL="5179648" indent="-304684" algn="l" defTabSz="60937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371" rtl="0" eaLnBrk="1" latinLnBrk="0" hangingPunct="1">
        <a:defRPr sz="2399" kern="1200">
          <a:solidFill>
            <a:schemeClr val="tx1"/>
          </a:solidFill>
          <a:latin typeface="+mn-lt"/>
          <a:ea typeface="+mn-ea"/>
          <a:cs typeface="+mn-cs"/>
        </a:defRPr>
      </a:lvl1pPr>
      <a:lvl2pPr marL="609371" algn="l" defTabSz="609371" rtl="0" eaLnBrk="1" latinLnBrk="0" hangingPunct="1">
        <a:defRPr sz="2399" kern="1200">
          <a:solidFill>
            <a:schemeClr val="tx1"/>
          </a:solidFill>
          <a:latin typeface="+mn-lt"/>
          <a:ea typeface="+mn-ea"/>
          <a:cs typeface="+mn-cs"/>
        </a:defRPr>
      </a:lvl2pPr>
      <a:lvl3pPr marL="1218740" algn="l" defTabSz="609371" rtl="0" eaLnBrk="1" latinLnBrk="0" hangingPunct="1">
        <a:defRPr sz="2399" kern="1200">
          <a:solidFill>
            <a:schemeClr val="tx1"/>
          </a:solidFill>
          <a:latin typeface="+mn-lt"/>
          <a:ea typeface="+mn-ea"/>
          <a:cs typeface="+mn-cs"/>
        </a:defRPr>
      </a:lvl3pPr>
      <a:lvl4pPr marL="1828113" algn="l" defTabSz="609371" rtl="0" eaLnBrk="1" latinLnBrk="0" hangingPunct="1">
        <a:defRPr sz="2399" kern="1200">
          <a:solidFill>
            <a:schemeClr val="tx1"/>
          </a:solidFill>
          <a:latin typeface="+mn-lt"/>
          <a:ea typeface="+mn-ea"/>
          <a:cs typeface="+mn-cs"/>
        </a:defRPr>
      </a:lvl4pPr>
      <a:lvl5pPr marL="2437482" algn="l" defTabSz="609371" rtl="0" eaLnBrk="1" latinLnBrk="0" hangingPunct="1">
        <a:defRPr sz="2399" kern="1200">
          <a:solidFill>
            <a:schemeClr val="tx1"/>
          </a:solidFill>
          <a:latin typeface="+mn-lt"/>
          <a:ea typeface="+mn-ea"/>
          <a:cs typeface="+mn-cs"/>
        </a:defRPr>
      </a:lvl5pPr>
      <a:lvl6pPr marL="3046850" algn="l" defTabSz="609371" rtl="0" eaLnBrk="1" latinLnBrk="0" hangingPunct="1">
        <a:defRPr sz="2399" kern="1200">
          <a:solidFill>
            <a:schemeClr val="tx1"/>
          </a:solidFill>
          <a:latin typeface="+mn-lt"/>
          <a:ea typeface="+mn-ea"/>
          <a:cs typeface="+mn-cs"/>
        </a:defRPr>
      </a:lvl6pPr>
      <a:lvl7pPr marL="3656221" algn="l" defTabSz="609371" rtl="0" eaLnBrk="1" latinLnBrk="0" hangingPunct="1">
        <a:defRPr sz="2399" kern="1200">
          <a:solidFill>
            <a:schemeClr val="tx1"/>
          </a:solidFill>
          <a:latin typeface="+mn-lt"/>
          <a:ea typeface="+mn-ea"/>
          <a:cs typeface="+mn-cs"/>
        </a:defRPr>
      </a:lvl7pPr>
      <a:lvl8pPr marL="4265592" algn="l" defTabSz="609371" rtl="0" eaLnBrk="1" latinLnBrk="0" hangingPunct="1">
        <a:defRPr sz="2399" kern="1200">
          <a:solidFill>
            <a:schemeClr val="tx1"/>
          </a:solidFill>
          <a:latin typeface="+mn-lt"/>
          <a:ea typeface="+mn-ea"/>
          <a:cs typeface="+mn-cs"/>
        </a:defRPr>
      </a:lvl8pPr>
      <a:lvl9pPr marL="4874962" algn="l" defTabSz="609371"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g"/><Relationship Id="rId1" Type="http://schemas.openxmlformats.org/officeDocument/2006/relationships/slideLayout" Target="../slideLayouts/slideLayout5.xml"/><Relationship Id="rId5" Type="http://schemas.openxmlformats.org/officeDocument/2006/relationships/hyperlink" Target="mailto:admin@ashb.com" TargetMode="External"/><Relationship Id="rId4" Type="http://schemas.openxmlformats.org/officeDocument/2006/relationships/image" Target="../media/image77.pn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xml"/><Relationship Id="rId5" Type="http://schemas.openxmlformats.org/officeDocument/2006/relationships/hyperlink" Target="mailto:admin@ashb.com" TargetMode="External"/><Relationship Id="rId4" Type="http://schemas.openxmlformats.org/officeDocument/2006/relationships/hyperlink" Target="http://www.ashb.com/whitepapers"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hyperlink" Target="http://www.ashb.com/sbc" TargetMode="External"/><Relationship Id="rId1" Type="http://schemas.openxmlformats.org/officeDocument/2006/relationships/slideLayout" Target="../slideLayouts/slideLayout4.xml"/><Relationship Id="rId6" Type="http://schemas.openxmlformats.org/officeDocument/2006/relationships/image" Target="../media/image45.jpeg"/><Relationship Id="rId5" Type="http://schemas.openxmlformats.org/officeDocument/2006/relationships/image" Target="../media/image44.gif"/><Relationship Id="rId10" Type="http://schemas.openxmlformats.org/officeDocument/2006/relationships/image" Target="../media/image49.jpeg"/><Relationship Id="rId4" Type="http://schemas.openxmlformats.org/officeDocument/2006/relationships/image" Target="../media/image43.jpeg"/><Relationship Id="rId9" Type="http://schemas.openxmlformats.org/officeDocument/2006/relationships/image" Target="../media/image48.jpeg"/></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www.ashb.com/sbc"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mailto:Klopotowska@ashb.com" TargetMode="External"/><Relationship Id="rId1" Type="http://schemas.openxmlformats.org/officeDocument/2006/relationships/slideLayout" Target="../slideLayouts/slideLayout5.xml"/><Relationship Id="rId5" Type="http://schemas.openxmlformats.org/officeDocument/2006/relationships/image" Target="../media/image53.png"/><Relationship Id="rId4" Type="http://schemas.openxmlformats.org/officeDocument/2006/relationships/image" Target="../media/image52.jpg"/></Relationships>
</file>

<file path=ppt/slides/_rels/slide6.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image" Target="../media/image54.png"/><Relationship Id="rId1" Type="http://schemas.openxmlformats.org/officeDocument/2006/relationships/slideLayout" Target="../slideLayouts/slideLayout5.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7.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9.png"/><Relationship Id="rId18" Type="http://schemas.openxmlformats.org/officeDocument/2006/relationships/image" Target="../media/image64.png"/><Relationship Id="rId3" Type="http://schemas.openxmlformats.org/officeDocument/2006/relationships/image" Target="../media/image55.png"/><Relationship Id="rId7" Type="http://schemas.openxmlformats.org/officeDocument/2006/relationships/image" Target="../media/image61.png"/><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image" Target="../media/image54.png"/><Relationship Id="rId16"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59.png"/><Relationship Id="rId11" Type="http://schemas.openxmlformats.org/officeDocument/2006/relationships/image" Target="../media/image67.png"/><Relationship Id="rId5" Type="http://schemas.openxmlformats.org/officeDocument/2006/relationships/image" Target="../media/image58.png"/><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image" Target="../media/image56.png"/><Relationship Id="rId9" Type="http://schemas.openxmlformats.org/officeDocument/2006/relationships/image" Target="../media/image65.jpg"/><Relationship Id="rId14" Type="http://schemas.openxmlformats.org/officeDocument/2006/relationships/image" Target="../media/image70.jpeg"/></Relationships>
</file>

<file path=ppt/slides/_rels/slide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a:xfrm>
            <a:off x="838200" y="1998976"/>
            <a:ext cx="10985500" cy="2049238"/>
          </a:xfrm>
        </p:spPr>
        <p:txBody>
          <a:bodyPr>
            <a:normAutofit fontScale="90000"/>
          </a:bodyPr>
          <a:lstStyle/>
          <a:p>
            <a:pPr>
              <a:lnSpc>
                <a:spcPct val="100000"/>
              </a:lnSpc>
            </a:pPr>
            <a:r>
              <a:rPr lang="en-US" altLang="en-US" sz="3200" b="1" dirty="0">
                <a:solidFill>
                  <a:schemeClr val="tx1"/>
                </a:solidFill>
                <a:latin typeface="+mj-lt"/>
              </a:rPr>
              <a:t>Smart Building Council (SBC)</a:t>
            </a:r>
            <a:br>
              <a:rPr lang="en-US" altLang="en-US" sz="3200" b="1" dirty="0">
                <a:solidFill>
                  <a:schemeClr val="tx1"/>
                </a:solidFill>
                <a:latin typeface="+mj-lt"/>
              </a:rPr>
            </a:br>
            <a:br>
              <a:rPr lang="en-US" altLang="en-US" sz="600" b="1" dirty="0">
                <a:solidFill>
                  <a:schemeClr val="tx1"/>
                </a:solidFill>
                <a:latin typeface="+mj-lt"/>
              </a:rPr>
            </a:br>
            <a:r>
              <a:rPr lang="en-US" altLang="en-US" sz="3900" b="1" dirty="0">
                <a:solidFill>
                  <a:schemeClr val="tx1"/>
                </a:solidFill>
                <a:latin typeface="+mj-lt"/>
              </a:rPr>
              <a:t>Webinar/Meeting will commence 12:05pm ET</a:t>
            </a:r>
            <a:br>
              <a:rPr lang="en-US" altLang="en-US" sz="3900" b="1" dirty="0">
                <a:solidFill>
                  <a:schemeClr val="tx1"/>
                </a:solidFill>
                <a:latin typeface="+mj-lt"/>
              </a:rPr>
            </a:br>
            <a:br>
              <a:rPr lang="en-US" altLang="en-US" sz="1700" b="1" dirty="0">
                <a:solidFill>
                  <a:schemeClr val="tx1"/>
                </a:solidFill>
                <a:latin typeface="+mj-lt"/>
              </a:rPr>
            </a:br>
            <a:r>
              <a:rPr lang="en-US" altLang="en-US" sz="2000" dirty="0">
                <a:solidFill>
                  <a:schemeClr val="tx1"/>
                </a:solidFill>
                <a:latin typeface="+mj-lt"/>
              </a:rPr>
              <a:t>Wednesday, February 11, 2026  |  </a:t>
            </a:r>
            <a:r>
              <a:rPr lang="en-US" sz="2000" dirty="0">
                <a:solidFill>
                  <a:schemeClr val="tx1"/>
                </a:solidFill>
                <a:latin typeface="+mj-lt"/>
              </a:rPr>
              <a:t>12 NOON – 1:30 PM (ET)</a:t>
            </a:r>
            <a:br>
              <a:rPr lang="en-US" altLang="en-US" sz="3200" b="1" dirty="0">
                <a:solidFill>
                  <a:schemeClr val="tx1"/>
                </a:solidFill>
              </a:rPr>
            </a:br>
            <a:endParaRPr lang="en-US" altLang="en-US" sz="2400" dirty="0">
              <a:solidFill>
                <a:schemeClr val="tx1"/>
              </a:solidFill>
            </a:endParaRPr>
          </a:p>
        </p:txBody>
      </p:sp>
      <p:sp>
        <p:nvSpPr>
          <p:cNvPr id="3" name="Subtitle 2"/>
          <p:cNvSpPr>
            <a:spLocks noGrp="1"/>
          </p:cNvSpPr>
          <p:nvPr>
            <p:ph type="subTitle" idx="1"/>
          </p:nvPr>
        </p:nvSpPr>
        <p:spPr>
          <a:xfrm>
            <a:off x="838200" y="4048214"/>
            <a:ext cx="9048750" cy="1412786"/>
          </a:xfrm>
        </p:spPr>
        <p:txBody>
          <a:bodyPr>
            <a:noAutofit/>
          </a:bodyPr>
          <a:lstStyle/>
          <a:p>
            <a:r>
              <a:rPr lang="en-US" sz="1400" dirty="0"/>
              <a:t>SBC Chair:  Bob Allan (NAVCO Inc.) </a:t>
            </a:r>
          </a:p>
          <a:p>
            <a:r>
              <a:rPr lang="en-US" sz="1400" dirty="0"/>
              <a:t>Vice-Chair:  Harsha Chandrashekar (Honeywell International Inc.)</a:t>
            </a:r>
          </a:p>
          <a:p>
            <a:r>
              <a:rPr lang="en-US" sz="1400" dirty="0"/>
              <a:t>Vice-Chair:  Robert Lane (Robert H. Lane and Associates Inc.)</a:t>
            </a:r>
          </a:p>
          <a:p>
            <a:r>
              <a:rPr lang="en-US" sz="1400" dirty="0"/>
              <a:t>Vice-Chair:  </a:t>
            </a:r>
            <a:r>
              <a:rPr lang="en-US" altLang="en-US" sz="1400" dirty="0">
                <a:solidFill>
                  <a:schemeClr val="tx1"/>
                </a:solidFill>
                <a:ea typeface="SimSun" pitchFamily="2" charset="-122"/>
                <a:sym typeface="Arial" pitchFamily="34" charset="0"/>
              </a:rPr>
              <a:t>Chris Larry (</a:t>
            </a:r>
            <a:r>
              <a:rPr lang="en-US" altLang="en-US" sz="1400" dirty="0">
                <a:ea typeface="SimSun" pitchFamily="2" charset="-122"/>
                <a:cs typeface="Arial" pitchFamily="34" charset="0"/>
                <a:sym typeface="Arial" pitchFamily="34" charset="0"/>
              </a:rPr>
              <a:t>e</a:t>
            </a:r>
            <a:r>
              <a:rPr lang="en-US" altLang="en-US" sz="1400" dirty="0">
                <a:solidFill>
                  <a:schemeClr val="tx1"/>
                </a:solidFill>
                <a:ea typeface="SimSun" pitchFamily="2" charset="-122"/>
                <a:cs typeface="Arial" pitchFamily="34" charset="0"/>
              </a:rPr>
              <a:t>xp US Services Inc.)</a:t>
            </a:r>
            <a:endParaRPr lang="en-US" sz="1400" dirty="0"/>
          </a:p>
        </p:txBody>
      </p:sp>
    </p:spTree>
    <p:extLst>
      <p:ext uri="{BB962C8B-B14F-4D97-AF65-F5344CB8AC3E}">
        <p14:creationId xmlns:p14="http://schemas.microsoft.com/office/powerpoint/2010/main" val="39350805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3BD385-FF7E-4567-AB86-449A08CBBB1C}"/>
              </a:ext>
            </a:extLst>
          </p:cNvPr>
          <p:cNvSpPr>
            <a:spLocks noGrp="1"/>
          </p:cNvSpPr>
          <p:nvPr>
            <p:ph type="sldNum" sz="quarter" idx="14"/>
          </p:nvPr>
        </p:nvSpPr>
        <p:spPr/>
        <p:txBody>
          <a:bodyPr/>
          <a:lstStyle/>
          <a:p>
            <a:fld id="{4658F449-AC56-C64A-8488-86A10DE691DA}" type="slidenum">
              <a:rPr lang="en-US" smtClean="0"/>
              <a:pPr/>
              <a:t>10</a:t>
            </a:fld>
            <a:endParaRPr lang="en-US"/>
          </a:p>
        </p:txBody>
      </p:sp>
      <p:sp>
        <p:nvSpPr>
          <p:cNvPr id="11" name="Title 1">
            <a:extLst>
              <a:ext uri="{FF2B5EF4-FFF2-40B4-BE49-F238E27FC236}">
                <a16:creationId xmlns:a16="http://schemas.microsoft.com/office/drawing/2014/main" id="{93918034-9B9D-4596-85F0-9F9E81E42410}"/>
              </a:ext>
            </a:extLst>
          </p:cNvPr>
          <p:cNvSpPr>
            <a:spLocks noGrp="1"/>
          </p:cNvSpPr>
          <p:nvPr>
            <p:ph type="title"/>
          </p:nvPr>
        </p:nvSpPr>
        <p:spPr>
          <a:xfrm>
            <a:off x="839787" y="64943"/>
            <a:ext cx="9848199" cy="1309752"/>
          </a:xfrm>
        </p:spPr>
        <p:txBody>
          <a:bodyPr/>
          <a:lstStyle/>
          <a:p>
            <a:r>
              <a:rPr lang="en-US" sz="2800" b="1" dirty="0"/>
              <a:t>5. Smarter Homes &amp; Buildings Podcast</a:t>
            </a:r>
            <a:br>
              <a:rPr lang="en-US" sz="2800" b="1" dirty="0"/>
            </a:br>
            <a:r>
              <a:rPr lang="en-CA" sz="2800" dirty="0"/>
              <a:t>Marta Klopotowska (ASHB)</a:t>
            </a:r>
            <a:endParaRPr lang="en-US" sz="2800" dirty="0"/>
          </a:p>
        </p:txBody>
      </p:sp>
      <p:pic>
        <p:nvPicPr>
          <p:cNvPr id="4" name="Picture 3" descr="A white background with black and orange logo&#10;&#10;Description automatically generated">
            <a:extLst>
              <a:ext uri="{FF2B5EF4-FFF2-40B4-BE49-F238E27FC236}">
                <a16:creationId xmlns:a16="http://schemas.microsoft.com/office/drawing/2014/main" id="{F114EBE4-BB71-0121-144E-449ADD8924D8}"/>
              </a:ext>
            </a:extLst>
          </p:cNvPr>
          <p:cNvPicPr>
            <a:picLocks noChangeAspect="1"/>
          </p:cNvPicPr>
          <p:nvPr/>
        </p:nvPicPr>
        <p:blipFill>
          <a:blip r:embed="rId2"/>
          <a:stretch>
            <a:fillRect/>
          </a:stretch>
        </p:blipFill>
        <p:spPr>
          <a:xfrm>
            <a:off x="1284286" y="1543818"/>
            <a:ext cx="2641448" cy="2641448"/>
          </a:xfrm>
          <a:prstGeom prst="rect">
            <a:avLst/>
          </a:prstGeom>
          <a:ln>
            <a:noFill/>
          </a:ln>
          <a:effectLst>
            <a:outerShdw blurRad="292100" dist="139700" dir="2700000" algn="tl" rotWithShape="0">
              <a:srgbClr val="333333">
                <a:alpha val="65000"/>
              </a:srgbClr>
            </a:outerShdw>
          </a:effectLst>
        </p:spPr>
      </p:pic>
      <p:pic>
        <p:nvPicPr>
          <p:cNvPr id="32" name="Picture 2" descr="Spotify logo dark mode Royalty Free Vector Image">
            <a:extLst>
              <a:ext uri="{FF2B5EF4-FFF2-40B4-BE49-F238E27FC236}">
                <a16:creationId xmlns:a16="http://schemas.microsoft.com/office/drawing/2014/main" id="{B22171F1-4ECB-4A70-9CD8-87A22F1E81B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312" b="31281"/>
          <a:stretch/>
        </p:blipFill>
        <p:spPr bwMode="auto">
          <a:xfrm>
            <a:off x="7918360" y="2658543"/>
            <a:ext cx="1822629" cy="67402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Apple Podcast logo – Medford Knife &amp; Tool USA">
            <a:extLst>
              <a:ext uri="{FF2B5EF4-FFF2-40B4-BE49-F238E27FC236}">
                <a16:creationId xmlns:a16="http://schemas.microsoft.com/office/drawing/2014/main" id="{7775C7B0-5794-4CDE-BBA0-514BAF6968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16" t="23333" r="3896" b="24444"/>
          <a:stretch/>
        </p:blipFill>
        <p:spPr bwMode="auto">
          <a:xfrm>
            <a:off x="5137867" y="2443964"/>
            <a:ext cx="2479675" cy="1070939"/>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400DFB1-2DAF-4260-B8BB-A3DBD5B7BB6E}"/>
              </a:ext>
            </a:extLst>
          </p:cNvPr>
          <p:cNvSpPr txBox="1"/>
          <p:nvPr/>
        </p:nvSpPr>
        <p:spPr>
          <a:xfrm>
            <a:off x="4645052" y="1529185"/>
            <a:ext cx="6546850" cy="646331"/>
          </a:xfrm>
          <a:prstGeom prst="rect">
            <a:avLst/>
          </a:prstGeom>
          <a:noFill/>
        </p:spPr>
        <p:txBody>
          <a:bodyPr wrap="square">
            <a:spAutoFit/>
          </a:bodyPr>
          <a:lstStyle/>
          <a:p>
            <a:r>
              <a:rPr lang="en-CA" b="0" i="0" dirty="0">
                <a:solidFill>
                  <a:schemeClr val="tx2"/>
                </a:solidFill>
                <a:effectLst/>
                <a:latin typeface="Arial" panose="020B0604020202020204" pitchFamily="34" charset="0"/>
                <a:cs typeface="Arial" panose="020B0604020202020204" pitchFamily="34" charset="0"/>
              </a:rPr>
              <a:t>Join industry experts and leaders from around the globe as they discuss everything smart home and intelligent buildings.</a:t>
            </a:r>
            <a:endParaRPr lang="en-CA" dirty="0">
              <a:solidFill>
                <a:schemeClr val="tx2"/>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D5B6834D-986A-40DB-BB44-CA58A4D1ED09}"/>
              </a:ext>
            </a:extLst>
          </p:cNvPr>
          <p:cNvSpPr txBox="1"/>
          <p:nvPr/>
        </p:nvSpPr>
        <p:spPr>
          <a:xfrm>
            <a:off x="4645052" y="3881227"/>
            <a:ext cx="6702246" cy="646331"/>
          </a:xfrm>
          <a:prstGeom prst="rect">
            <a:avLst/>
          </a:prstGeom>
          <a:noFill/>
        </p:spPr>
        <p:txBody>
          <a:bodyPr wrap="square">
            <a:spAutoFit/>
          </a:bodyPr>
          <a:lstStyle/>
          <a:p>
            <a:r>
              <a:rPr lang="en-CA" dirty="0">
                <a:solidFill>
                  <a:schemeClr val="tx2"/>
                </a:solidFill>
                <a:latin typeface="Arial" panose="020B0604020202020204" pitchFamily="34" charset="0"/>
                <a:cs typeface="Arial" panose="020B0604020202020204" pitchFamily="34" charset="0"/>
              </a:rPr>
              <a:t>ASHB is looking for guests and hosts for future pre-recorded episodes. C</a:t>
            </a:r>
            <a:r>
              <a:rPr lang="en-CA" b="0" i="0" dirty="0">
                <a:solidFill>
                  <a:schemeClr val="tx2"/>
                </a:solidFill>
                <a:effectLst/>
                <a:latin typeface="Arial" panose="020B0604020202020204" pitchFamily="34" charset="0"/>
                <a:cs typeface="Arial" panose="020B0604020202020204" pitchFamily="34" charset="0"/>
              </a:rPr>
              <a:t>ontact </a:t>
            </a:r>
            <a:r>
              <a:rPr lang="en-CA" b="0" i="0" dirty="0">
                <a:solidFill>
                  <a:schemeClr val="tx2"/>
                </a:solidFill>
                <a:effectLst/>
                <a:latin typeface="Arial" panose="020B0604020202020204" pitchFamily="34" charset="0"/>
                <a:cs typeface="Arial" panose="020B0604020202020204" pitchFamily="34" charset="0"/>
                <a:hlinkClick r:id="rId5"/>
              </a:rPr>
              <a:t>admin@ashb.com</a:t>
            </a:r>
            <a:r>
              <a:rPr lang="en-CA" b="0" i="0" dirty="0">
                <a:solidFill>
                  <a:schemeClr val="tx2"/>
                </a:solidFill>
                <a:effectLst/>
                <a:latin typeface="Arial" panose="020B0604020202020204" pitchFamily="34" charset="0"/>
                <a:cs typeface="Arial" panose="020B0604020202020204" pitchFamily="34" charset="0"/>
              </a:rPr>
              <a:t> for more information.</a:t>
            </a:r>
            <a:endParaRPr lang="en-CA"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3B8E8E1-4A2D-4783-AFCA-5F22F296D0E1}"/>
              </a:ext>
            </a:extLst>
          </p:cNvPr>
          <p:cNvSpPr txBox="1"/>
          <p:nvPr/>
        </p:nvSpPr>
        <p:spPr>
          <a:xfrm>
            <a:off x="680838" y="4958787"/>
            <a:ext cx="10511064" cy="923330"/>
          </a:xfrm>
          <a:prstGeom prst="rect">
            <a:avLst/>
          </a:prstGeom>
          <a:noFill/>
        </p:spPr>
        <p:txBody>
          <a:bodyPr wrap="square">
            <a:spAutoFit/>
          </a:bodyPr>
          <a:lstStyle/>
          <a:p>
            <a:r>
              <a:rPr lang="en-CA" b="1" dirty="0">
                <a:solidFill>
                  <a:srgbClr val="FF0000"/>
                </a:solidFill>
                <a:latin typeface="Arial" panose="020B0604020202020204" pitchFamily="34" charset="0"/>
                <a:cs typeface="Arial" panose="020B0604020202020204" pitchFamily="34" charset="0"/>
              </a:rPr>
              <a:t>Recent Recordings: </a:t>
            </a:r>
          </a:p>
          <a:p>
            <a:pPr marL="342900" indent="-342900">
              <a:buFontTx/>
              <a:buChar char="-"/>
            </a:pPr>
            <a:r>
              <a:rPr lang="en-US" dirty="0">
                <a:solidFill>
                  <a:srgbClr val="FF0000"/>
                </a:solidFill>
                <a:latin typeface="Arial" panose="020B0604020202020204" pitchFamily="34" charset="0"/>
                <a:cs typeface="Arial" panose="020B0604020202020204" pitchFamily="34" charset="0"/>
              </a:rPr>
              <a:t>Seeing the Unseen: How Water Visibility Is Changing Facility Management</a:t>
            </a:r>
          </a:p>
          <a:p>
            <a:pPr marL="342900" indent="-342900">
              <a:buFontTx/>
              <a:buChar char="-"/>
            </a:pPr>
            <a:r>
              <a:rPr lang="en-US" dirty="0">
                <a:solidFill>
                  <a:srgbClr val="FF0000"/>
                </a:solidFill>
                <a:latin typeface="Arial" panose="020B0604020202020204" pitchFamily="34" charset="0"/>
                <a:cs typeface="Arial" panose="020B0604020202020204" pitchFamily="34" charset="0"/>
              </a:rPr>
              <a:t>Building Cybersecurity, Cybersecurity 101 - Tools and Methods</a:t>
            </a:r>
          </a:p>
        </p:txBody>
      </p:sp>
      <p:sp>
        <p:nvSpPr>
          <p:cNvPr id="3" name="TextBox 2">
            <a:extLst>
              <a:ext uri="{FF2B5EF4-FFF2-40B4-BE49-F238E27FC236}">
                <a16:creationId xmlns:a16="http://schemas.microsoft.com/office/drawing/2014/main" id="{2FCF0CC0-3854-0EC7-BC64-655C62D99ECB}"/>
              </a:ext>
            </a:extLst>
          </p:cNvPr>
          <p:cNvSpPr txBox="1"/>
          <p:nvPr/>
        </p:nvSpPr>
        <p:spPr>
          <a:xfrm>
            <a:off x="1284286" y="4350366"/>
            <a:ext cx="2641448" cy="369332"/>
          </a:xfrm>
          <a:prstGeom prst="rect">
            <a:avLst/>
          </a:prstGeom>
          <a:noFill/>
        </p:spPr>
        <p:txBody>
          <a:bodyPr wrap="square">
            <a:spAutoFit/>
          </a:bodyPr>
          <a:lstStyle/>
          <a:p>
            <a:pPr algn="ctr"/>
            <a:r>
              <a:rPr lang="en-US" dirty="0">
                <a:ln w="0"/>
                <a:solidFill>
                  <a:srgbClr val="FF00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ashb.com/podcast</a:t>
            </a:r>
            <a:endParaRPr lang="en-CA" dirty="0">
              <a:ln w="0"/>
              <a:solidFill>
                <a:srgbClr val="FF00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9778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71510"/>
            <a:ext cx="9029700" cy="1100065"/>
          </a:xfrm>
        </p:spPr>
        <p:txBody>
          <a:bodyPr/>
          <a:lstStyle/>
          <a:p>
            <a:r>
              <a:rPr lang="en-US" sz="2800" b="1" dirty="0"/>
              <a:t>6.  ASHB Whitepapers </a:t>
            </a:r>
            <a:br>
              <a:rPr lang="en-US" sz="2800" b="1" dirty="0"/>
            </a:br>
            <a:r>
              <a:rPr lang="en-US" sz="2800" dirty="0"/>
              <a:t>Ken Wacks (Ken Wacks Associates)</a:t>
            </a:r>
          </a:p>
        </p:txBody>
      </p:sp>
      <p:sp>
        <p:nvSpPr>
          <p:cNvPr id="2" name="Slide Number Placeholder 1">
            <a:extLst>
              <a:ext uri="{FF2B5EF4-FFF2-40B4-BE49-F238E27FC236}">
                <a16:creationId xmlns:a16="http://schemas.microsoft.com/office/drawing/2014/main" id="{CA9A0781-BFB3-4827-8F74-2629FB5CF485}"/>
              </a:ext>
            </a:extLst>
          </p:cNvPr>
          <p:cNvSpPr>
            <a:spLocks noGrp="1"/>
          </p:cNvSpPr>
          <p:nvPr>
            <p:ph type="sldNum" sz="quarter" idx="11"/>
          </p:nvPr>
        </p:nvSpPr>
        <p:spPr/>
        <p:txBody>
          <a:bodyPr/>
          <a:lstStyle/>
          <a:p>
            <a:fld id="{4658F449-AC56-C64A-8488-86A10DE691DA}" type="slidenum">
              <a:rPr lang="en-US" smtClean="0"/>
              <a:pPr/>
              <a:t>11</a:t>
            </a:fld>
            <a:endParaRPr lang="en-US"/>
          </a:p>
        </p:txBody>
      </p:sp>
      <p:pic>
        <p:nvPicPr>
          <p:cNvPr id="4" name="Picture 3" descr="A close-up of a logo&#10;&#10;Description automatically generated">
            <a:extLst>
              <a:ext uri="{FF2B5EF4-FFF2-40B4-BE49-F238E27FC236}">
                <a16:creationId xmlns:a16="http://schemas.microsoft.com/office/drawing/2014/main" id="{06612A43-7A42-B155-67C9-4DCF2E027A5A}"/>
              </a:ext>
            </a:extLst>
          </p:cNvPr>
          <p:cNvPicPr>
            <a:picLocks noChangeAspect="1"/>
          </p:cNvPicPr>
          <p:nvPr/>
        </p:nvPicPr>
        <p:blipFill rotWithShape="1">
          <a:blip r:embed="rId2"/>
          <a:srcRect l="5523" b="23934"/>
          <a:stretch/>
        </p:blipFill>
        <p:spPr>
          <a:xfrm>
            <a:off x="1318774" y="1596307"/>
            <a:ext cx="3856177" cy="1013829"/>
          </a:xfrm>
          <a:prstGeom prst="rect">
            <a:avLst/>
          </a:prstGeom>
        </p:spPr>
      </p:pic>
      <p:pic>
        <p:nvPicPr>
          <p:cNvPr id="5" name="Picture 4">
            <a:extLst>
              <a:ext uri="{FF2B5EF4-FFF2-40B4-BE49-F238E27FC236}">
                <a16:creationId xmlns:a16="http://schemas.microsoft.com/office/drawing/2014/main" id="{C66CD473-32E1-BB54-DD54-F2C2BCCDDE27}"/>
              </a:ext>
            </a:extLst>
          </p:cNvPr>
          <p:cNvPicPr>
            <a:picLocks noChangeAspect="1"/>
          </p:cNvPicPr>
          <p:nvPr/>
        </p:nvPicPr>
        <p:blipFill rotWithShape="1">
          <a:blip r:embed="rId3"/>
          <a:srcRect l="1109" t="4129" r="1109" b="3703"/>
          <a:stretch/>
        </p:blipFill>
        <p:spPr>
          <a:xfrm>
            <a:off x="1206499" y="3149600"/>
            <a:ext cx="9575801" cy="2844800"/>
          </a:xfrm>
          <a:prstGeom prst="rect">
            <a:avLst/>
          </a:prstGeom>
        </p:spPr>
      </p:pic>
      <p:sp>
        <p:nvSpPr>
          <p:cNvPr id="7" name="TextBox 6">
            <a:extLst>
              <a:ext uri="{FF2B5EF4-FFF2-40B4-BE49-F238E27FC236}">
                <a16:creationId xmlns:a16="http://schemas.microsoft.com/office/drawing/2014/main" id="{A89B838E-AD81-4247-BFA3-57852208B13F}"/>
              </a:ext>
            </a:extLst>
          </p:cNvPr>
          <p:cNvSpPr txBox="1"/>
          <p:nvPr/>
        </p:nvSpPr>
        <p:spPr>
          <a:xfrm>
            <a:off x="5540627" y="1518107"/>
            <a:ext cx="6143373" cy="1449630"/>
          </a:xfrm>
          <a:prstGeom prst="rect">
            <a:avLst/>
          </a:prstGeom>
          <a:noFill/>
          <a:ln>
            <a:solidFill>
              <a:schemeClr val="accent2"/>
            </a:solidFill>
          </a:ln>
          <a:effectLst>
            <a:outerShdw blurRad="50800" dist="50800" dir="5400000" algn="ctr" rotWithShape="0">
              <a:srgbClr val="000000">
                <a:alpha val="20000"/>
              </a:srgbClr>
            </a:outerShdw>
          </a:effectLst>
        </p:spPr>
        <p:txBody>
          <a:bodyPr wrap="square" rtlCol="0" anchor="ctr" anchorCtr="0">
            <a:noAutofit/>
          </a:bodyPr>
          <a:lstStyle/>
          <a:p>
            <a:pPr algn="ctr"/>
            <a:r>
              <a:rPr lang="en-US" dirty="0">
                <a:solidFill>
                  <a:schemeClr val="tx2"/>
                </a:solidFill>
              </a:rPr>
              <a:t>Published SBC White Papers can be downloaded at:</a:t>
            </a:r>
          </a:p>
          <a:p>
            <a:pPr algn="ctr"/>
            <a:r>
              <a:rPr lang="en-US" dirty="0">
                <a:solidFill>
                  <a:schemeClr val="tx2"/>
                </a:solidFill>
                <a:hlinkClick r:id="rId4"/>
              </a:rPr>
              <a:t>ashb.com/whitepapers</a:t>
            </a:r>
            <a:r>
              <a:rPr lang="en-US" dirty="0">
                <a:solidFill>
                  <a:schemeClr val="tx2"/>
                </a:solidFill>
              </a:rPr>
              <a:t> </a:t>
            </a:r>
          </a:p>
          <a:p>
            <a:pPr algn="ctr"/>
            <a:r>
              <a:rPr lang="en-US" dirty="0">
                <a:solidFill>
                  <a:schemeClr val="tx2"/>
                </a:solidFill>
              </a:rPr>
              <a:t>Send proposals to </a:t>
            </a:r>
            <a:r>
              <a:rPr lang="en-US" dirty="0">
                <a:solidFill>
                  <a:schemeClr val="tx2"/>
                </a:solidFill>
                <a:hlinkClick r:id="rId5"/>
              </a:rPr>
              <a:t>admin@ashb.com</a:t>
            </a:r>
            <a:r>
              <a:rPr lang="en-US" dirty="0">
                <a:solidFill>
                  <a:schemeClr val="tx2"/>
                </a:solidFill>
              </a:rPr>
              <a:t> </a:t>
            </a:r>
          </a:p>
        </p:txBody>
      </p:sp>
    </p:spTree>
    <p:extLst>
      <p:ext uri="{BB962C8B-B14F-4D97-AF65-F5344CB8AC3E}">
        <p14:creationId xmlns:p14="http://schemas.microsoft.com/office/powerpoint/2010/main" val="65980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80392-3869-CF1D-6451-68D7142D32B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F9ADE72-9FC9-A24F-80BA-F811D48C6EAB}"/>
              </a:ext>
            </a:extLst>
          </p:cNvPr>
          <p:cNvSpPr>
            <a:spLocks noGrp="1"/>
          </p:cNvSpPr>
          <p:nvPr>
            <p:ph type="title"/>
          </p:nvPr>
        </p:nvSpPr>
        <p:spPr>
          <a:xfrm>
            <a:off x="838200" y="71510"/>
            <a:ext cx="9029700" cy="1100065"/>
          </a:xfrm>
        </p:spPr>
        <p:txBody>
          <a:bodyPr/>
          <a:lstStyle/>
          <a:p>
            <a:r>
              <a:rPr lang="en-US" sz="2800" b="1" dirty="0"/>
              <a:t>6.  ASHB Research Library </a:t>
            </a:r>
            <a:br>
              <a:rPr lang="en-US" sz="2800" b="1" dirty="0"/>
            </a:br>
            <a:r>
              <a:rPr lang="en-US" sz="2800" dirty="0"/>
              <a:t>Ken Wacks (Ken Wacks Associates)</a:t>
            </a:r>
          </a:p>
        </p:txBody>
      </p:sp>
      <p:sp>
        <p:nvSpPr>
          <p:cNvPr id="2" name="Slide Number Placeholder 1">
            <a:extLst>
              <a:ext uri="{FF2B5EF4-FFF2-40B4-BE49-F238E27FC236}">
                <a16:creationId xmlns:a16="http://schemas.microsoft.com/office/drawing/2014/main" id="{FAAA08E3-3920-558C-98EF-A2FB7E166FEC}"/>
              </a:ext>
            </a:extLst>
          </p:cNvPr>
          <p:cNvSpPr>
            <a:spLocks noGrp="1"/>
          </p:cNvSpPr>
          <p:nvPr>
            <p:ph type="sldNum" sz="quarter" idx="11"/>
          </p:nvPr>
        </p:nvSpPr>
        <p:spPr/>
        <p:txBody>
          <a:bodyPr/>
          <a:lstStyle/>
          <a:p>
            <a:fld id="{4658F449-AC56-C64A-8488-86A10DE691DA}" type="slidenum">
              <a:rPr lang="en-US" smtClean="0"/>
              <a:pPr/>
              <a:t>12</a:t>
            </a:fld>
            <a:endParaRPr lang="en-US"/>
          </a:p>
        </p:txBody>
      </p:sp>
      <p:pic>
        <p:nvPicPr>
          <p:cNvPr id="10" name="Picture 9">
            <a:extLst>
              <a:ext uri="{FF2B5EF4-FFF2-40B4-BE49-F238E27FC236}">
                <a16:creationId xmlns:a16="http://schemas.microsoft.com/office/drawing/2014/main" id="{194276AF-6D77-B5EB-C85F-58FD8C1CFEB0}"/>
              </a:ext>
            </a:extLst>
          </p:cNvPr>
          <p:cNvPicPr>
            <a:picLocks noChangeAspect="1"/>
          </p:cNvPicPr>
          <p:nvPr/>
        </p:nvPicPr>
        <p:blipFill>
          <a:blip r:embed="rId2"/>
          <a:stretch>
            <a:fillRect/>
          </a:stretch>
        </p:blipFill>
        <p:spPr>
          <a:xfrm>
            <a:off x="2241105" y="1032772"/>
            <a:ext cx="7709789" cy="53022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Arrow: Right 13">
            <a:extLst>
              <a:ext uri="{FF2B5EF4-FFF2-40B4-BE49-F238E27FC236}">
                <a16:creationId xmlns:a16="http://schemas.microsoft.com/office/drawing/2014/main" id="{11747B61-3830-3305-F389-83B8449E6339}"/>
              </a:ext>
            </a:extLst>
          </p:cNvPr>
          <p:cNvSpPr/>
          <p:nvPr/>
        </p:nvSpPr>
        <p:spPr>
          <a:xfrm rot="10800000">
            <a:off x="7815282" y="1751529"/>
            <a:ext cx="984237" cy="705466"/>
          </a:xfrm>
          <a:prstGeom prst="rightArrow">
            <a:avLst/>
          </a:prstGeom>
          <a:ln w="19050"/>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75841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58810"/>
            <a:ext cx="7634681" cy="447675"/>
          </a:xfrm>
        </p:spPr>
        <p:txBody>
          <a:bodyPr/>
          <a:lstStyle/>
          <a:p>
            <a:r>
              <a:rPr lang="en-US" b="1" dirty="0"/>
              <a:t>7.  ASHB Journal</a:t>
            </a:r>
            <a:br>
              <a:rPr lang="en-US" b="1" dirty="0"/>
            </a:br>
            <a:r>
              <a:rPr lang="en-US" sz="2800" dirty="0"/>
              <a:t>Ken Wacks (Ken Wacks Associates)</a:t>
            </a:r>
          </a:p>
        </p:txBody>
      </p:sp>
      <p:sp>
        <p:nvSpPr>
          <p:cNvPr id="2" name="Slide Number Placeholder 1">
            <a:extLst>
              <a:ext uri="{FF2B5EF4-FFF2-40B4-BE49-F238E27FC236}">
                <a16:creationId xmlns:a16="http://schemas.microsoft.com/office/drawing/2014/main" id="{160F41FE-0291-D1E0-7113-AC67A0417978}"/>
              </a:ext>
            </a:extLst>
          </p:cNvPr>
          <p:cNvSpPr txBox="1">
            <a:spLocks/>
          </p:cNvSpPr>
          <p:nvPr/>
        </p:nvSpPr>
        <p:spPr>
          <a:xfrm>
            <a:off x="319038" y="6388135"/>
            <a:ext cx="620027" cy="3524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58F449-AC56-C64A-8488-86A10DE691DA}" type="slidenum">
              <a:rPr lang="en-US" sz="1200" smtClean="0"/>
              <a:pPr/>
              <a:t>13</a:t>
            </a:fld>
            <a:endParaRPr lang="en-US" sz="1200" dirty="0"/>
          </a:p>
        </p:txBody>
      </p:sp>
      <p:sp>
        <p:nvSpPr>
          <p:cNvPr id="3" name="TextBox 2">
            <a:extLst>
              <a:ext uri="{FF2B5EF4-FFF2-40B4-BE49-F238E27FC236}">
                <a16:creationId xmlns:a16="http://schemas.microsoft.com/office/drawing/2014/main" id="{113B9A50-DD1B-AE64-0A75-A514466EA579}"/>
              </a:ext>
            </a:extLst>
          </p:cNvPr>
          <p:cNvSpPr txBox="1"/>
          <p:nvPr/>
        </p:nvSpPr>
        <p:spPr>
          <a:xfrm>
            <a:off x="1479550" y="4929636"/>
            <a:ext cx="8890000" cy="1200329"/>
          </a:xfrm>
          <a:prstGeom prst="rect">
            <a:avLst/>
          </a:prstGeom>
          <a:noFill/>
        </p:spPr>
        <p:txBody>
          <a:bodyPr wrap="square">
            <a:spAutoFit/>
          </a:bodyPr>
          <a:lstStyle/>
          <a:p>
            <a:pPr fontAlgn="base"/>
            <a:r>
              <a:rPr lang="en-US" b="1" i="0" dirty="0">
                <a:solidFill>
                  <a:schemeClr val="tx2"/>
                </a:solidFill>
                <a:effectLst/>
                <a:latin typeface="Open Sans" panose="020B0606030504020204" pitchFamily="34" charset="0"/>
              </a:rPr>
              <a:t>Recent posts:</a:t>
            </a:r>
          </a:p>
          <a:p>
            <a:pPr marL="285750" indent="-285750" fontAlgn="base">
              <a:buFontTx/>
              <a:buChar char="-"/>
            </a:pPr>
            <a:r>
              <a:rPr lang="en-US" b="1" dirty="0">
                <a:solidFill>
                  <a:schemeClr val="tx2"/>
                </a:solidFill>
                <a:latin typeface="Open Sans" panose="020B0606030504020204" pitchFamily="34" charset="0"/>
              </a:rPr>
              <a:t>Ken Wacks’ Perspectives: A virtual tour of CEDIA Expo 2025</a:t>
            </a:r>
          </a:p>
          <a:p>
            <a:pPr marL="285750" indent="-285750" fontAlgn="base">
              <a:buFontTx/>
              <a:buChar char="-"/>
            </a:pPr>
            <a:r>
              <a:rPr lang="en-US" b="1" dirty="0">
                <a:solidFill>
                  <a:schemeClr val="tx2"/>
                </a:solidFill>
                <a:latin typeface="Open Sans" panose="020B0606030504020204" pitchFamily="34" charset="0"/>
              </a:rPr>
              <a:t>Unlocking Smarter, Cleaner Energy with Geo-Exchange Systems</a:t>
            </a:r>
          </a:p>
          <a:p>
            <a:pPr marL="285750" indent="-285750" fontAlgn="base">
              <a:buFontTx/>
              <a:buChar char="-"/>
            </a:pPr>
            <a:r>
              <a:rPr lang="en-US" b="1" i="0" dirty="0">
                <a:solidFill>
                  <a:schemeClr val="tx2"/>
                </a:solidFill>
                <a:effectLst/>
                <a:latin typeface="Open Sans" panose="020B0606030504020204" pitchFamily="34" charset="0"/>
              </a:rPr>
              <a:t>Ken Wacks’ Perspectives: A virtual tour of CES 2025</a:t>
            </a:r>
          </a:p>
        </p:txBody>
      </p:sp>
      <p:sp>
        <p:nvSpPr>
          <p:cNvPr id="8" name="TextBox 7">
            <a:extLst>
              <a:ext uri="{FF2B5EF4-FFF2-40B4-BE49-F238E27FC236}">
                <a16:creationId xmlns:a16="http://schemas.microsoft.com/office/drawing/2014/main" id="{412C6DF3-2CD4-416F-BFDD-2947EB01E154}"/>
              </a:ext>
            </a:extLst>
          </p:cNvPr>
          <p:cNvSpPr txBox="1"/>
          <p:nvPr/>
        </p:nvSpPr>
        <p:spPr>
          <a:xfrm>
            <a:off x="6509739" y="1382376"/>
            <a:ext cx="5474581" cy="3093154"/>
          </a:xfrm>
          <a:prstGeom prst="rect">
            <a:avLst/>
          </a:prstGeom>
          <a:noFill/>
        </p:spPr>
        <p:txBody>
          <a:bodyPr wrap="square">
            <a:spAutoFit/>
          </a:bodyPr>
          <a:lstStyle/>
          <a:p>
            <a:pPr>
              <a:spcAft>
                <a:spcPts val="600"/>
              </a:spcAft>
            </a:pPr>
            <a:r>
              <a:rPr lang="en-US" dirty="0">
                <a:solidFill>
                  <a:schemeClr val="tx2"/>
                </a:solidFill>
              </a:rPr>
              <a:t>The ASHB Journal aims to educate and inform the ASHB membership and industry at large on emerging research, issues, challenges, and opportunities in the smart home and building sectors. </a:t>
            </a:r>
          </a:p>
          <a:p>
            <a:pPr>
              <a:spcAft>
                <a:spcPts val="600"/>
              </a:spcAft>
            </a:pPr>
            <a:r>
              <a:rPr lang="en-US" dirty="0"/>
              <a:t>New articles are posted to the ASHB website, included in the weekly NewsBrief, and circulated on Twitter and LinkedIn. </a:t>
            </a:r>
          </a:p>
          <a:p>
            <a:pPr>
              <a:spcAft>
                <a:spcPts val="600"/>
              </a:spcAft>
            </a:pPr>
            <a:endParaRPr lang="en-US" dirty="0"/>
          </a:p>
          <a:p>
            <a:pPr algn="ctr">
              <a:spcAft>
                <a:spcPts val="600"/>
              </a:spcAft>
            </a:pPr>
            <a:r>
              <a:rPr lang="en-US" b="1" dirty="0">
                <a:solidFill>
                  <a:srgbClr val="FF0000"/>
                </a:solidFill>
              </a:rPr>
              <a:t>Send proposals to admin@ashb.com</a:t>
            </a:r>
            <a:endParaRPr lang="en-CA" b="1" dirty="0">
              <a:solidFill>
                <a:srgbClr val="FF0000"/>
              </a:solidFill>
            </a:endParaRPr>
          </a:p>
        </p:txBody>
      </p:sp>
      <p:pic>
        <p:nvPicPr>
          <p:cNvPr id="7" name="Picture 6">
            <a:extLst>
              <a:ext uri="{FF2B5EF4-FFF2-40B4-BE49-F238E27FC236}">
                <a16:creationId xmlns:a16="http://schemas.microsoft.com/office/drawing/2014/main" id="{136336BE-A804-7107-5988-4AC522A5BE88}"/>
              </a:ext>
            </a:extLst>
          </p:cNvPr>
          <p:cNvPicPr>
            <a:picLocks noChangeAspect="1"/>
          </p:cNvPicPr>
          <p:nvPr/>
        </p:nvPicPr>
        <p:blipFill>
          <a:blip r:embed="rId2"/>
          <a:stretch>
            <a:fillRect/>
          </a:stretch>
        </p:blipFill>
        <p:spPr>
          <a:xfrm>
            <a:off x="542924" y="1355034"/>
            <a:ext cx="5729066" cy="33185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93507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9718964" cy="1101135"/>
          </a:xfrm>
        </p:spPr>
        <p:txBody>
          <a:bodyPr/>
          <a:lstStyle/>
          <a:p>
            <a:r>
              <a:rPr lang="en-US" sz="2800" b="1" dirty="0"/>
              <a:t>8.  New Business</a:t>
            </a:r>
            <a:br>
              <a:rPr lang="en-US" sz="2800" dirty="0"/>
            </a:br>
            <a:r>
              <a:rPr lang="sv-SE" sz="2800" dirty="0"/>
              <a:t>Robert Lane (Robert H. Lane &amp; Associates Inc.)</a:t>
            </a:r>
            <a:endParaRPr lang="en-US" sz="2800"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14</a:t>
            </a:fld>
            <a:endParaRPr lang="en-US" dirty="0"/>
          </a:p>
        </p:txBody>
      </p:sp>
      <p:sp>
        <p:nvSpPr>
          <p:cNvPr id="8" name="Text Placeholder 2">
            <a:extLst>
              <a:ext uri="{FF2B5EF4-FFF2-40B4-BE49-F238E27FC236}">
                <a16:creationId xmlns:a16="http://schemas.microsoft.com/office/drawing/2014/main" id="{FB4EB544-78AD-4A22-A560-DDE5B1C53C69}"/>
              </a:ext>
            </a:extLst>
          </p:cNvPr>
          <p:cNvSpPr>
            <a:spLocks noGrp="1"/>
          </p:cNvSpPr>
          <p:nvPr>
            <p:ph type="body" sz="quarter" idx="12"/>
          </p:nvPr>
        </p:nvSpPr>
        <p:spPr>
          <a:xfrm>
            <a:off x="4123134" y="1487488"/>
            <a:ext cx="3945731" cy="512762"/>
          </a:xfrm>
        </p:spPr>
        <p:txBody>
          <a:bodyPr/>
          <a:lstStyle/>
          <a:p>
            <a:pPr marL="0" indent="0" algn="ctr">
              <a:buNone/>
            </a:pPr>
            <a:r>
              <a:rPr lang="en-US" dirty="0"/>
              <a:t>New SBC Business? </a:t>
            </a:r>
          </a:p>
          <a:p>
            <a:endParaRPr lang="en-CA" dirty="0"/>
          </a:p>
        </p:txBody>
      </p:sp>
      <p:pic>
        <p:nvPicPr>
          <p:cNvPr id="1026" name="Picture 2" descr="How an Experienced Virtual Assistant Can Really Help a New Business Owner |  moretime PA Services | moretime PA Services">
            <a:extLst>
              <a:ext uri="{FF2B5EF4-FFF2-40B4-BE49-F238E27FC236}">
                <a16:creationId xmlns:a16="http://schemas.microsoft.com/office/drawing/2014/main" id="{C920E88E-DD99-6CC7-E157-151A848E4A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3130" y="2130425"/>
            <a:ext cx="5545740" cy="387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7924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10098112" cy="843960"/>
          </a:xfrm>
        </p:spPr>
        <p:txBody>
          <a:bodyPr/>
          <a:lstStyle/>
          <a:p>
            <a:r>
              <a:rPr lang="en-US" sz="2800" b="1" dirty="0"/>
              <a:t>9.  Announcements</a:t>
            </a:r>
            <a:br>
              <a:rPr lang="en-US" sz="2800" b="1" dirty="0"/>
            </a:br>
            <a:r>
              <a:rPr lang="en-CA" sz="2800" dirty="0"/>
              <a:t>Marta Klopotowska (ASHB)</a:t>
            </a:r>
            <a:endParaRPr lang="en-US" sz="2800"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fld id="{4658F449-AC56-C64A-8488-86A10DE691DA}" type="slidenum">
              <a:rPr lang="en-US" smtClean="0"/>
              <a:pPr/>
              <a:t>15</a:t>
            </a:fld>
            <a:endParaRPr lang="en-US"/>
          </a:p>
        </p:txBody>
      </p:sp>
      <p:sp>
        <p:nvSpPr>
          <p:cNvPr id="5" name="TextBox 4">
            <a:extLst>
              <a:ext uri="{FF2B5EF4-FFF2-40B4-BE49-F238E27FC236}">
                <a16:creationId xmlns:a16="http://schemas.microsoft.com/office/drawing/2014/main" id="{0684A995-F67B-936D-92B4-DACCE9FBA26B}"/>
              </a:ext>
            </a:extLst>
          </p:cNvPr>
          <p:cNvSpPr txBox="1"/>
          <p:nvPr/>
        </p:nvSpPr>
        <p:spPr>
          <a:xfrm>
            <a:off x="5729728" y="1371179"/>
            <a:ext cx="5700272" cy="4432721"/>
          </a:xfrm>
          <a:prstGeom prst="rect">
            <a:avLst/>
          </a:prstGeom>
          <a:noFill/>
        </p:spPr>
        <p:txBody>
          <a:bodyPr wrap="square" numCol="1" rtlCol="0">
            <a:noAutofit/>
          </a:bodyPr>
          <a:lstStyle/>
          <a:p>
            <a:pPr lvl="0"/>
            <a:r>
              <a:rPr lang="en-CA" sz="2000" b="1" dirty="0">
                <a:solidFill>
                  <a:srgbClr val="464646"/>
                </a:solidFill>
              </a:rPr>
              <a:t>Light + Building</a:t>
            </a:r>
          </a:p>
          <a:p>
            <a:pPr lvl="0"/>
            <a:r>
              <a:rPr lang="en-CA" sz="2000" b="1" dirty="0">
                <a:solidFill>
                  <a:srgbClr val="464646"/>
                </a:solidFill>
              </a:rPr>
              <a:t>March 8-13 | Frankfurt, Germany</a:t>
            </a:r>
          </a:p>
          <a:p>
            <a:pPr lvl="0"/>
            <a:endParaRPr lang="en-CA" sz="2000" b="1" dirty="0">
              <a:solidFill>
                <a:srgbClr val="464646"/>
              </a:solidFill>
            </a:endParaRPr>
          </a:p>
          <a:p>
            <a:pPr lvl="0"/>
            <a:r>
              <a:rPr lang="en-CA" sz="2000" b="1" dirty="0">
                <a:solidFill>
                  <a:srgbClr val="464646"/>
                </a:solidFill>
              </a:rPr>
              <a:t>CX Energy</a:t>
            </a:r>
          </a:p>
          <a:p>
            <a:pPr lvl="0"/>
            <a:r>
              <a:rPr lang="en-CA" sz="2000" b="1" dirty="0">
                <a:solidFill>
                  <a:srgbClr val="464646"/>
                </a:solidFill>
              </a:rPr>
              <a:t>April 21-24 | Chicago, IL</a:t>
            </a:r>
          </a:p>
          <a:p>
            <a:pPr lvl="0"/>
            <a:endParaRPr lang="en-CA" sz="2000" b="1" dirty="0">
              <a:solidFill>
                <a:srgbClr val="464646"/>
              </a:solidFill>
            </a:endParaRPr>
          </a:p>
          <a:p>
            <a:pPr lvl="0"/>
            <a:r>
              <a:rPr lang="en-CA" sz="2000" b="1" dirty="0">
                <a:solidFill>
                  <a:srgbClr val="464646"/>
                </a:solidFill>
              </a:rPr>
              <a:t>Connect (X)</a:t>
            </a:r>
          </a:p>
          <a:p>
            <a:pPr lvl="0"/>
            <a:r>
              <a:rPr lang="en-CA" sz="2000" b="1">
                <a:solidFill>
                  <a:srgbClr val="464646"/>
                </a:solidFill>
              </a:rPr>
              <a:t>May 4-6 | </a:t>
            </a:r>
            <a:r>
              <a:rPr lang="en-CA" sz="2000" b="1" dirty="0">
                <a:solidFill>
                  <a:srgbClr val="464646"/>
                </a:solidFill>
              </a:rPr>
              <a:t>Fort Lauderdale, FL</a:t>
            </a:r>
          </a:p>
          <a:p>
            <a:pPr lvl="0"/>
            <a:endParaRPr lang="en-CA" sz="2000" b="1" dirty="0">
              <a:solidFill>
                <a:srgbClr val="464646"/>
              </a:solidFill>
            </a:endParaRPr>
          </a:p>
          <a:p>
            <a:pPr lvl="0"/>
            <a:r>
              <a:rPr lang="en-CA" sz="2000" b="1" dirty="0">
                <a:solidFill>
                  <a:srgbClr val="464646"/>
                </a:solidFill>
              </a:rPr>
              <a:t>Controls-Con</a:t>
            </a:r>
          </a:p>
          <a:p>
            <a:pPr lvl="0"/>
            <a:r>
              <a:rPr lang="en-CA" sz="2000" b="1" dirty="0">
                <a:solidFill>
                  <a:srgbClr val="464646"/>
                </a:solidFill>
              </a:rPr>
              <a:t>May 14-15 | Denver, CO</a:t>
            </a:r>
          </a:p>
          <a:p>
            <a:pPr lvl="0"/>
            <a:endParaRPr lang="en-CA" sz="2000" b="1" dirty="0">
              <a:solidFill>
                <a:srgbClr val="464646"/>
              </a:solidFill>
            </a:endParaRPr>
          </a:p>
          <a:p>
            <a:pPr lvl="0"/>
            <a:r>
              <a:rPr lang="en-CA" sz="2000" b="1" dirty="0">
                <a:solidFill>
                  <a:srgbClr val="464646"/>
                </a:solidFill>
              </a:rPr>
              <a:t>Realcomm | </a:t>
            </a:r>
            <a:r>
              <a:rPr lang="en-CA" sz="2000" b="1" dirty="0" err="1">
                <a:solidFill>
                  <a:srgbClr val="464646"/>
                </a:solidFill>
              </a:rPr>
              <a:t>IBCon</a:t>
            </a:r>
            <a:endParaRPr lang="en-CA" sz="2000" b="1" dirty="0">
              <a:solidFill>
                <a:srgbClr val="464646"/>
              </a:solidFill>
            </a:endParaRPr>
          </a:p>
          <a:p>
            <a:pPr lvl="0"/>
            <a:r>
              <a:rPr lang="en-CA" sz="2000" b="1" dirty="0">
                <a:solidFill>
                  <a:srgbClr val="464646"/>
                </a:solidFill>
              </a:rPr>
              <a:t>June 3-4 | San Diego, CA</a:t>
            </a:r>
          </a:p>
        </p:txBody>
      </p:sp>
      <p:pic>
        <p:nvPicPr>
          <p:cNvPr id="1028" name="Picture 4" descr="Upcoming Events - Sila Community">
            <a:extLst>
              <a:ext uri="{FF2B5EF4-FFF2-40B4-BE49-F238E27FC236}">
                <a16:creationId xmlns:a16="http://schemas.microsoft.com/office/drawing/2014/main" id="{FFD7B0D6-DCFE-7687-A2B1-26A55F9640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2306361"/>
            <a:ext cx="4395010" cy="2245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5616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logo with red and grey letters&#10;&#10;AI-generated content may be incorrect.">
            <a:extLst>
              <a:ext uri="{FF2B5EF4-FFF2-40B4-BE49-F238E27FC236}">
                <a16:creationId xmlns:a16="http://schemas.microsoft.com/office/drawing/2014/main" id="{AC197B3B-BE3A-534C-914D-82BDE8F925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10863" y="3647902"/>
            <a:ext cx="5570271" cy="2765091"/>
          </a:xfrm>
          <a:prstGeom prst="rect">
            <a:avLst/>
          </a:prstGeom>
        </p:spPr>
      </p:pic>
      <p:sp>
        <p:nvSpPr>
          <p:cNvPr id="3" name="Rectangle 2"/>
          <p:cNvSpPr/>
          <p:nvPr/>
        </p:nvSpPr>
        <p:spPr>
          <a:xfrm>
            <a:off x="1429996" y="2485667"/>
            <a:ext cx="9332006" cy="1677382"/>
          </a:xfrm>
          <a:prstGeom prst="rect">
            <a:avLst/>
          </a:prstGeom>
        </p:spPr>
        <p:txBody>
          <a:bodyPr wrap="square">
            <a:spAutoFit/>
          </a:bodyPr>
          <a:lstStyle/>
          <a:p>
            <a:pPr algn="ctr"/>
            <a:r>
              <a:rPr lang="en-US" altLang="en-US" sz="3200" b="1" dirty="0">
                <a:latin typeface="Calibri" pitchFamily="34" charset="0"/>
              </a:rPr>
              <a:t>Association for Smarter Homes &amp; Buildings (ASHB)</a:t>
            </a:r>
            <a:br>
              <a:rPr lang="en-US" altLang="en-US" sz="2400" b="1" dirty="0">
                <a:latin typeface="Calibri" pitchFamily="34" charset="0"/>
              </a:rPr>
            </a:br>
            <a:r>
              <a:rPr lang="en-US" altLang="en-US" sz="2400" b="1" dirty="0">
                <a:latin typeface="Calibri" pitchFamily="34" charset="0"/>
              </a:rPr>
              <a:t>admin@ashb.com  |  www.ashb.com  |  www.ashb.com/sbc</a:t>
            </a: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10528300" cy="1058161"/>
          </a:xfrm>
        </p:spPr>
        <p:txBody>
          <a:bodyPr/>
          <a:lstStyle/>
          <a:p>
            <a:r>
              <a:rPr lang="en-US" sz="2800" b="1" dirty="0"/>
              <a:t>10.  Adjournment</a:t>
            </a:r>
            <a:br>
              <a:rPr lang="en-US" sz="2800" dirty="0"/>
            </a:br>
            <a:r>
              <a:rPr lang="sv-SE" sz="2800" dirty="0"/>
              <a:t>Robert Lane (Robert H. Lane &amp; Associates Inc.)</a:t>
            </a:r>
            <a:endParaRPr lang="en-US" sz="2800" dirty="0"/>
          </a:p>
        </p:txBody>
      </p:sp>
      <p:sp>
        <p:nvSpPr>
          <p:cNvPr id="2" name="Slide Number Placeholder 1">
            <a:extLst>
              <a:ext uri="{FF2B5EF4-FFF2-40B4-BE49-F238E27FC236}">
                <a16:creationId xmlns:a16="http://schemas.microsoft.com/office/drawing/2014/main" id="{8B41472F-A3EE-41D7-AE08-1F4E3C792660}"/>
              </a:ext>
            </a:extLst>
          </p:cNvPr>
          <p:cNvSpPr>
            <a:spLocks noGrp="1"/>
          </p:cNvSpPr>
          <p:nvPr>
            <p:ph type="sldNum" sz="quarter" idx="11"/>
          </p:nvPr>
        </p:nvSpPr>
        <p:spPr/>
        <p:txBody>
          <a:bodyPr/>
          <a:lstStyle/>
          <a:p>
            <a:fld id="{4658F449-AC56-C64A-8488-86A10DE691DA}" type="slidenum">
              <a:rPr lang="en-US" smtClean="0"/>
              <a:pPr/>
              <a:t>16</a:t>
            </a:fld>
            <a:endParaRPr lang="en-US" dirty="0"/>
          </a:p>
        </p:txBody>
      </p:sp>
      <p:sp>
        <p:nvSpPr>
          <p:cNvPr id="5" name="Rectangle 4">
            <a:extLst>
              <a:ext uri="{FF2B5EF4-FFF2-40B4-BE49-F238E27FC236}">
                <a16:creationId xmlns:a16="http://schemas.microsoft.com/office/drawing/2014/main" id="{9CD6A055-FAD9-4078-9E2C-C6A0AF3B2E80}"/>
              </a:ext>
            </a:extLst>
          </p:cNvPr>
          <p:cNvSpPr/>
          <p:nvPr/>
        </p:nvSpPr>
        <p:spPr>
          <a:xfrm>
            <a:off x="2120131" y="1626517"/>
            <a:ext cx="8050075" cy="492443"/>
          </a:xfrm>
          <a:prstGeom prst="rect">
            <a:avLst/>
          </a:prstGeom>
          <a:solidFill>
            <a:schemeClr val="accent5"/>
          </a:solidFill>
          <a:ln w="47625">
            <a:solidFill>
              <a:schemeClr val="tx2"/>
            </a:solidFill>
          </a:ln>
        </p:spPr>
        <p:txBody>
          <a:bodyPr wrap="square">
            <a:spAutoFit/>
          </a:bodyPr>
          <a:lstStyle/>
          <a:p>
            <a:pPr lvl="0" algn="ctr"/>
            <a:r>
              <a:rPr lang="en-US" sz="2500" b="1" dirty="0">
                <a:solidFill>
                  <a:srgbClr val="E83E1D"/>
                </a:solidFill>
              </a:rPr>
              <a:t>Next SBC Meeting: </a:t>
            </a:r>
            <a:r>
              <a:rPr lang="en-US" sz="2600" b="1" dirty="0">
                <a:solidFill>
                  <a:schemeClr val="tx2"/>
                </a:solidFill>
              </a:rPr>
              <a:t>May 2026</a:t>
            </a:r>
          </a:p>
        </p:txBody>
      </p:sp>
    </p:spTree>
    <p:extLst>
      <p:ext uri="{BB962C8B-B14F-4D97-AF65-F5344CB8AC3E}">
        <p14:creationId xmlns:p14="http://schemas.microsoft.com/office/powerpoint/2010/main" val="2932444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2" y="25935"/>
            <a:ext cx="7586929" cy="524107"/>
          </a:xfrm>
        </p:spPr>
        <p:txBody>
          <a:bodyPr/>
          <a:lstStyle/>
          <a:p>
            <a:r>
              <a:rPr lang="en-US" sz="2800" b="1" dirty="0"/>
              <a:t>Agenda</a:t>
            </a:r>
            <a:br>
              <a:rPr lang="en-US" sz="2800" dirty="0"/>
            </a:br>
            <a:r>
              <a:rPr lang="en-US" altLang="en-US" sz="2800" dirty="0"/>
              <a:t>Marta Klopotowska (ASHB)</a:t>
            </a:r>
            <a:endParaRPr lang="en-US" sz="2800" b="1" dirty="0"/>
          </a:p>
        </p:txBody>
      </p:sp>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a:p>
        </p:txBody>
      </p:sp>
      <p:sp>
        <p:nvSpPr>
          <p:cNvPr id="10" name="Text Placeholder 4">
            <a:extLst>
              <a:ext uri="{FF2B5EF4-FFF2-40B4-BE49-F238E27FC236}">
                <a16:creationId xmlns:a16="http://schemas.microsoft.com/office/drawing/2014/main" id="{6D5EDE2A-40A4-4199-AAF2-68729E10C1E4}"/>
              </a:ext>
            </a:extLst>
          </p:cNvPr>
          <p:cNvSpPr txBox="1">
            <a:spLocks/>
          </p:cNvSpPr>
          <p:nvPr/>
        </p:nvSpPr>
        <p:spPr>
          <a:xfrm>
            <a:off x="739788" y="1168070"/>
            <a:ext cx="10652112" cy="48771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1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57200" indent="-457200">
              <a:buFont typeface="+mj-lt"/>
              <a:buAutoNum type="arabicPeriod"/>
            </a:pPr>
            <a:r>
              <a:rPr lang="en-US" dirty="0">
                <a:latin typeface="+mj-lt"/>
              </a:rPr>
              <a:t>Call to Order, Welcome, Introductions, About the SBC</a:t>
            </a:r>
          </a:p>
          <a:p>
            <a:pPr marL="457200" indent="-457200">
              <a:buFont typeface="+mj-lt"/>
              <a:buAutoNum type="arabicPeriod"/>
            </a:pPr>
            <a:r>
              <a:rPr lang="en-US" dirty="0">
                <a:latin typeface="+mj-lt"/>
              </a:rPr>
              <a:t>Administrative </a:t>
            </a:r>
          </a:p>
          <a:p>
            <a:pPr marL="457200" indent="-457200">
              <a:buFont typeface="+mj-lt"/>
              <a:buAutoNum type="arabicPeriod"/>
            </a:pPr>
            <a:r>
              <a:rPr lang="en-US" dirty="0">
                <a:latin typeface="+mj-lt"/>
              </a:rPr>
              <a:t>Research Update</a:t>
            </a:r>
          </a:p>
          <a:p>
            <a:pPr marL="457200" indent="-457200">
              <a:lnSpc>
                <a:spcPct val="100000"/>
              </a:lnSpc>
              <a:buFont typeface="+mj-lt"/>
              <a:buAutoNum type="arabicPeriod"/>
            </a:pPr>
            <a:r>
              <a:rPr lang="en-US" dirty="0">
                <a:latin typeface="+mj-lt"/>
              </a:rPr>
              <a:t> </a:t>
            </a:r>
            <a:r>
              <a:rPr lang="en-US" b="1" dirty="0">
                <a:latin typeface="+mj-lt"/>
              </a:rPr>
              <a:t>Panel: </a:t>
            </a:r>
            <a:r>
              <a:rPr lang="en-US" dirty="0"/>
              <a:t>Winning Mindshare with Mechanical Engineers and Consultants in Building Controls</a:t>
            </a:r>
            <a:br>
              <a:rPr lang="en-CA" dirty="0">
                <a:latin typeface="+mj-lt"/>
              </a:rPr>
            </a:br>
            <a:r>
              <a:rPr lang="en-CA" dirty="0">
                <a:latin typeface="+mj-lt"/>
              </a:rPr>
              <a:t> </a:t>
            </a:r>
            <a:r>
              <a:rPr lang="en-CA" b="1" dirty="0">
                <a:latin typeface="+mj-lt"/>
              </a:rPr>
              <a:t>Panel Members: </a:t>
            </a:r>
            <a:r>
              <a:rPr lang="en-CA" dirty="0">
                <a:latin typeface="+mj-lt"/>
              </a:rPr>
              <a:t>Marc </a:t>
            </a:r>
            <a:r>
              <a:rPr lang="en-CA" dirty="0" err="1">
                <a:latin typeface="+mj-lt"/>
              </a:rPr>
              <a:t>Petoc</a:t>
            </a:r>
            <a:r>
              <a:rPr lang="en-CA" dirty="0">
                <a:latin typeface="+mj-lt"/>
              </a:rPr>
              <a:t> and Terry Swope (</a:t>
            </a:r>
            <a:r>
              <a:rPr lang="en-US" dirty="0" err="1">
                <a:latin typeface="+mj-lt"/>
              </a:rPr>
              <a:t>Lynxspring</a:t>
            </a:r>
            <a:r>
              <a:rPr lang="en-US" dirty="0">
                <a:latin typeface="+mj-lt"/>
              </a:rPr>
              <a:t>), J Christopher Larry (EXP US Services), Jacob Jackson (Aptitude: Intelligent Integration), Ed Merwin (Tridium), and Troy Windom (Chinook Systems)</a:t>
            </a:r>
            <a:endParaRPr lang="en-CA" dirty="0">
              <a:latin typeface="+mj-lt"/>
            </a:endParaRPr>
          </a:p>
          <a:p>
            <a:pPr marL="457200" indent="-457200">
              <a:lnSpc>
                <a:spcPct val="100000"/>
              </a:lnSpc>
              <a:buFont typeface="+mj-lt"/>
              <a:buAutoNum type="arabicPeriod"/>
            </a:pPr>
            <a:r>
              <a:rPr lang="en-US" dirty="0">
                <a:latin typeface="+mj-lt"/>
              </a:rPr>
              <a:t>ASHB Podcast</a:t>
            </a:r>
          </a:p>
          <a:p>
            <a:pPr marL="457200" indent="-457200">
              <a:buFont typeface="+mj-lt"/>
              <a:buAutoNum type="arabicPeriod"/>
            </a:pPr>
            <a:r>
              <a:rPr lang="en-US" dirty="0">
                <a:latin typeface="+mj-lt"/>
              </a:rPr>
              <a:t>ASHB Whitepapers &amp; Research Library</a:t>
            </a:r>
          </a:p>
          <a:p>
            <a:pPr marL="457200" indent="-457200">
              <a:buFont typeface="+mj-lt"/>
              <a:buAutoNum type="arabicPeriod"/>
            </a:pPr>
            <a:r>
              <a:rPr lang="en-US" dirty="0">
                <a:latin typeface="+mj-lt"/>
              </a:rPr>
              <a:t>ASHB Journal.</a:t>
            </a:r>
          </a:p>
          <a:p>
            <a:pPr marL="457200" indent="-457200">
              <a:buFont typeface="+mj-lt"/>
              <a:buAutoNum type="arabicPeriod"/>
            </a:pPr>
            <a:r>
              <a:rPr lang="en-US" dirty="0">
                <a:latin typeface="+mj-lt"/>
              </a:rPr>
              <a:t>New Business </a:t>
            </a:r>
          </a:p>
          <a:p>
            <a:pPr marL="457200" indent="-457200">
              <a:buFont typeface="+mj-lt"/>
              <a:buAutoNum type="arabicPeriod"/>
            </a:pPr>
            <a:r>
              <a:rPr lang="en-US" dirty="0">
                <a:latin typeface="+mj-lt"/>
              </a:rPr>
              <a:t>Announcements</a:t>
            </a:r>
          </a:p>
          <a:p>
            <a:pPr marL="457200" indent="-457200">
              <a:buFont typeface="+mj-lt"/>
              <a:buAutoNum type="arabicPeriod"/>
            </a:pPr>
            <a:r>
              <a:rPr lang="en-US" dirty="0">
                <a:latin typeface="+mj-lt"/>
              </a:rPr>
              <a:t>Adjournment</a:t>
            </a:r>
          </a:p>
        </p:txBody>
      </p:sp>
    </p:spTree>
    <p:extLst>
      <p:ext uri="{BB962C8B-B14F-4D97-AF65-F5344CB8AC3E}">
        <p14:creationId xmlns:p14="http://schemas.microsoft.com/office/powerpoint/2010/main" val="2325718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2" y="81704"/>
            <a:ext cx="10998664" cy="966194"/>
          </a:xfrm>
        </p:spPr>
        <p:txBody>
          <a:bodyPr/>
          <a:lstStyle/>
          <a:p>
            <a:r>
              <a:rPr lang="en-US" altLang="en-US" sz="2800" b="1" dirty="0"/>
              <a:t>1.  Call to Order, Welcome, Introductions, About the SBC</a:t>
            </a:r>
            <a:br>
              <a:rPr lang="en-US" altLang="en-US" sz="2800" b="1" dirty="0"/>
            </a:br>
            <a:r>
              <a:rPr lang="sv-SE" sz="2800" dirty="0"/>
              <a:t>Robert Lane (Robert H. Lane &amp; Associates Inc.)</a:t>
            </a:r>
            <a:endParaRPr lang="en-US" altLang="en-US" sz="2800" dirty="0"/>
          </a:p>
        </p:txBody>
      </p:sp>
      <p:sp>
        <p:nvSpPr>
          <p:cNvPr id="10" name="Slide Number Placeholder 9">
            <a:extLst>
              <a:ext uri="{FF2B5EF4-FFF2-40B4-BE49-F238E27FC236}">
                <a16:creationId xmlns:a16="http://schemas.microsoft.com/office/drawing/2014/main" id="{224C967F-47BE-4373-9DB0-5AB38DAFD3D3}"/>
              </a:ext>
            </a:extLst>
          </p:cNvPr>
          <p:cNvSpPr>
            <a:spLocks noGrp="1"/>
          </p:cNvSpPr>
          <p:nvPr>
            <p:ph type="sldNum" sz="quarter" idx="11"/>
          </p:nvPr>
        </p:nvSpPr>
        <p:spPr/>
        <p:txBody>
          <a:bodyPr/>
          <a:lstStyle/>
          <a:p>
            <a:fld id="{4658F449-AC56-C64A-8488-86A10DE691DA}" type="slidenum">
              <a:rPr lang="en-US" smtClean="0"/>
              <a:pPr/>
              <a:t>3</a:t>
            </a:fld>
            <a:endParaRPr lang="en-US"/>
          </a:p>
        </p:txBody>
      </p:sp>
      <p:sp>
        <p:nvSpPr>
          <p:cNvPr id="19" name="Content Placeholder 1">
            <a:extLst>
              <a:ext uri="{FF2B5EF4-FFF2-40B4-BE49-F238E27FC236}">
                <a16:creationId xmlns:a16="http://schemas.microsoft.com/office/drawing/2014/main" id="{BFA5C62F-C11C-404A-926C-35704A67471C}"/>
              </a:ext>
            </a:extLst>
          </p:cNvPr>
          <p:cNvSpPr txBox="1">
            <a:spLocks noChangeArrowheads="1"/>
          </p:cNvSpPr>
          <p:nvPr/>
        </p:nvSpPr>
        <p:spPr>
          <a:xfrm>
            <a:off x="480396" y="4683928"/>
            <a:ext cx="10930554" cy="139302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None/>
            </a:pPr>
            <a:r>
              <a:rPr lang="en-US" altLang="en-US" sz="1600" dirty="0"/>
              <a:t>The ASHB Smart Building Council works to strengthen the large building automation industry through innovative technology-driven research projects.  The Council was established in 2001 by ASHB to specifically review opportunities, take strategic action, and monitor initiatives that relate to integrated systems and automation in the large building sector.  The Council's projects promote the next generation of smart building technologies and incorporate a holistic approach that optimizes building performance and savings. </a:t>
            </a:r>
            <a:r>
              <a:rPr lang="en-US" altLang="en-US" sz="1600" dirty="0">
                <a:hlinkClick r:id="rId2"/>
              </a:rPr>
              <a:t>www.ashb.com/sbc</a:t>
            </a:r>
            <a:endParaRPr lang="en-US" altLang="en-US" sz="1600" dirty="0"/>
          </a:p>
        </p:txBody>
      </p:sp>
      <p:grpSp>
        <p:nvGrpSpPr>
          <p:cNvPr id="5" name="Group 4">
            <a:extLst>
              <a:ext uri="{FF2B5EF4-FFF2-40B4-BE49-F238E27FC236}">
                <a16:creationId xmlns:a16="http://schemas.microsoft.com/office/drawing/2014/main" id="{F506FF1D-C7B6-4673-BB69-0C7D22AF2438}"/>
              </a:ext>
            </a:extLst>
          </p:cNvPr>
          <p:cNvGrpSpPr/>
          <p:nvPr/>
        </p:nvGrpSpPr>
        <p:grpSpPr>
          <a:xfrm>
            <a:off x="553096" y="1141663"/>
            <a:ext cx="9921615" cy="3282299"/>
            <a:chOff x="553096" y="1144728"/>
            <a:chExt cx="9921615" cy="3282299"/>
          </a:xfrm>
        </p:grpSpPr>
        <p:sp>
          <p:nvSpPr>
            <p:cNvPr id="31" name="Rectangle 5">
              <a:extLst>
                <a:ext uri="{FF2B5EF4-FFF2-40B4-BE49-F238E27FC236}">
                  <a16:creationId xmlns:a16="http://schemas.microsoft.com/office/drawing/2014/main" id="{0FFFDE97-0F33-4DAA-A8FB-638701428683}"/>
                </a:ext>
              </a:extLst>
            </p:cNvPr>
            <p:cNvSpPr>
              <a:spLocks noChangeArrowheads="1"/>
            </p:cNvSpPr>
            <p:nvPr/>
          </p:nvSpPr>
          <p:spPr bwMode="auto">
            <a:xfrm>
              <a:off x="553096" y="2797285"/>
              <a:ext cx="2266101" cy="13930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400" b="1" dirty="0">
                  <a:solidFill>
                    <a:schemeClr val="bg2">
                      <a:lumMod val="25000"/>
                    </a:schemeClr>
                  </a:solidFill>
                  <a:latin typeface="+mj-lt"/>
                  <a:ea typeface="SimSun" pitchFamily="2" charset="-122"/>
                  <a:sym typeface="Arial" pitchFamily="34" charset="0"/>
                </a:rPr>
                <a:t>SBC Chair</a:t>
              </a:r>
            </a:p>
            <a:p>
              <a:pPr eaLnBrk="1" hangingPunct="1">
                <a:lnSpc>
                  <a:spcPct val="100000"/>
                </a:lnSpc>
                <a:spcBef>
                  <a:spcPct val="0"/>
                </a:spcBef>
                <a:buFont typeface="Arial" pitchFamily="34" charset="0"/>
                <a:buNone/>
              </a:pPr>
              <a:r>
                <a:rPr lang="en-CA" altLang="en-US" sz="1400" b="1" dirty="0">
                  <a:solidFill>
                    <a:schemeClr val="bg2">
                      <a:lumMod val="25000"/>
                    </a:schemeClr>
                  </a:solidFill>
                  <a:latin typeface="+mj-lt"/>
                  <a:ea typeface="SimSun" pitchFamily="2" charset="-122"/>
                  <a:sym typeface="Arial" pitchFamily="34" charset="0"/>
                </a:rPr>
                <a:t>Bob Allan </a:t>
              </a:r>
            </a:p>
            <a:p>
              <a:pPr eaLnBrk="1" hangingPunct="1">
                <a:lnSpc>
                  <a:spcPct val="100000"/>
                </a:lnSpc>
                <a:spcBef>
                  <a:spcPct val="0"/>
                </a:spcBef>
                <a:buFont typeface="Arial" pitchFamily="34" charset="0"/>
                <a:buNone/>
              </a:pPr>
              <a:r>
                <a:rPr lang="en-CA" altLang="en-US" sz="1400" dirty="0">
                  <a:solidFill>
                    <a:schemeClr val="bg2">
                      <a:lumMod val="25000"/>
                    </a:schemeClr>
                  </a:solidFill>
                  <a:latin typeface="+mj-lt"/>
                  <a:ea typeface="SimSun" pitchFamily="2" charset="-122"/>
                  <a:cs typeface="Arial" pitchFamily="34" charset="0"/>
                </a:rPr>
                <a:t>Senior Vice President of Sales, East Region</a:t>
              </a:r>
            </a:p>
            <a:p>
              <a:pPr eaLnBrk="1" hangingPunct="1">
                <a:lnSpc>
                  <a:spcPct val="100000"/>
                </a:lnSpc>
                <a:spcBef>
                  <a:spcPct val="0"/>
                </a:spcBef>
                <a:buFont typeface="Arial" pitchFamily="34" charset="0"/>
                <a:buNone/>
              </a:pPr>
              <a:r>
                <a:rPr lang="en-CA" altLang="en-US" sz="1400" dirty="0">
                  <a:solidFill>
                    <a:schemeClr val="bg2">
                      <a:lumMod val="25000"/>
                    </a:schemeClr>
                  </a:solidFill>
                  <a:latin typeface="+mj-lt"/>
                  <a:ea typeface="SimSun" pitchFamily="2" charset="-122"/>
                  <a:cs typeface="Arial" pitchFamily="34" charset="0"/>
                </a:rPr>
                <a:t>NAVCO, Inc.</a:t>
              </a:r>
            </a:p>
          </p:txBody>
        </p:sp>
        <p:pic>
          <p:nvPicPr>
            <p:cNvPr id="35" name="Picture 15" descr="Robert (Bob) Lane">
              <a:extLst>
                <a:ext uri="{FF2B5EF4-FFF2-40B4-BE49-F238E27FC236}">
                  <a16:creationId xmlns:a16="http://schemas.microsoft.com/office/drawing/2014/main" id="{22CB4335-C959-482C-8398-30BC363FB7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9520" y="1163855"/>
              <a:ext cx="1599430" cy="163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5" descr="Bob Allan">
              <a:extLst>
                <a:ext uri="{FF2B5EF4-FFF2-40B4-BE49-F238E27FC236}">
                  <a16:creationId xmlns:a16="http://schemas.microsoft.com/office/drawing/2014/main" id="{940EAE47-5ED3-4190-AE81-60E67EA43EE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732" t="12720" r="18510" b="16382"/>
            <a:stretch/>
          </p:blipFill>
          <p:spPr bwMode="auto">
            <a:xfrm>
              <a:off x="625629" y="1195325"/>
              <a:ext cx="1599430" cy="162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5">
              <a:extLst>
                <a:ext uri="{FF2B5EF4-FFF2-40B4-BE49-F238E27FC236}">
                  <a16:creationId xmlns:a16="http://schemas.microsoft.com/office/drawing/2014/main" id="{C86F1097-EA2C-443A-BCFA-1FDC47FB3B35}"/>
                </a:ext>
              </a:extLst>
            </p:cNvPr>
            <p:cNvSpPr>
              <a:spLocks noChangeArrowheads="1"/>
            </p:cNvSpPr>
            <p:nvPr/>
          </p:nvSpPr>
          <p:spPr bwMode="auto">
            <a:xfrm>
              <a:off x="5722246" y="2779798"/>
              <a:ext cx="2446049" cy="13693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SBC Vice-Chair</a:t>
              </a:r>
            </a:p>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Robert Lane </a:t>
              </a:r>
            </a:p>
            <a:p>
              <a:pPr eaLnBrk="1" hangingPunct="1">
                <a:lnSpc>
                  <a:spcPct val="100000"/>
                </a:lnSpc>
                <a:spcBef>
                  <a:spcPct val="0"/>
                </a:spcBef>
                <a:buFont typeface="Arial" pitchFamily="34" charset="0"/>
                <a:buNone/>
              </a:pPr>
              <a:r>
                <a:rPr lang="en-US" altLang="en-US" sz="1400" dirty="0">
                  <a:solidFill>
                    <a:schemeClr val="bg2">
                      <a:lumMod val="25000"/>
                    </a:schemeClr>
                  </a:solidFill>
                  <a:latin typeface="+mj-lt"/>
                  <a:ea typeface="SimSun" pitchFamily="2" charset="-122"/>
                  <a:cs typeface="Arial" pitchFamily="34" charset="0"/>
                </a:rPr>
                <a:t>President &amp; Managing Partner, Robert H. Lane and Associates Inc.</a:t>
              </a:r>
              <a:endParaRPr lang="en-CA" altLang="en-US" sz="1400" dirty="0">
                <a:solidFill>
                  <a:schemeClr val="bg2">
                    <a:lumMod val="25000"/>
                  </a:schemeClr>
                </a:solidFill>
                <a:latin typeface="+mj-lt"/>
                <a:ea typeface="SimSun" pitchFamily="2" charset="-122"/>
                <a:cs typeface="Arial" pitchFamily="34" charset="0"/>
              </a:endParaRPr>
            </a:p>
          </p:txBody>
        </p:sp>
        <p:pic>
          <p:nvPicPr>
            <p:cNvPr id="40" name="Picture 14" descr="Lane Consulting">
              <a:extLst>
                <a:ext uri="{FF2B5EF4-FFF2-40B4-BE49-F238E27FC236}">
                  <a16:creationId xmlns:a16="http://schemas.microsoft.com/office/drawing/2014/main" id="{917B7615-CBAC-4B21-8CAF-E917F2B9D4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9520" y="3963478"/>
              <a:ext cx="879704" cy="40362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arsha Chandrashekar">
              <a:extLst>
                <a:ext uri="{FF2B5EF4-FFF2-40B4-BE49-F238E27FC236}">
                  <a16:creationId xmlns:a16="http://schemas.microsoft.com/office/drawing/2014/main" id="{ACA6A063-31BC-4A91-9C62-478ABE9B4F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15690" y="1200793"/>
              <a:ext cx="1613199" cy="1613199"/>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5">
              <a:extLst>
                <a:ext uri="{FF2B5EF4-FFF2-40B4-BE49-F238E27FC236}">
                  <a16:creationId xmlns:a16="http://schemas.microsoft.com/office/drawing/2014/main" id="{BC18B817-EC74-4D59-9375-5B8440D38BE8}"/>
                </a:ext>
              </a:extLst>
            </p:cNvPr>
            <p:cNvSpPr>
              <a:spLocks noChangeArrowheads="1"/>
            </p:cNvSpPr>
            <p:nvPr/>
          </p:nvSpPr>
          <p:spPr bwMode="auto">
            <a:xfrm>
              <a:off x="3132185" y="2813251"/>
              <a:ext cx="2446049" cy="1327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fontScale="85000" lnSpcReduction="10000"/>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bg2">
                      <a:lumMod val="25000"/>
                    </a:schemeClr>
                  </a:solidFill>
                  <a:latin typeface="+mj-lt"/>
                  <a:ea typeface="SimSun" pitchFamily="2" charset="-122"/>
                  <a:sym typeface="Arial" pitchFamily="34" charset="0"/>
                </a:rPr>
                <a:t>SBC Vice-Chair </a:t>
              </a:r>
            </a:p>
            <a:p>
              <a:pPr eaLnBrk="1" hangingPunct="1">
                <a:lnSpc>
                  <a:spcPct val="100000"/>
                </a:lnSpc>
                <a:spcBef>
                  <a:spcPct val="0"/>
                </a:spcBef>
                <a:buFont typeface="Arial" pitchFamily="34" charset="0"/>
                <a:buNone/>
              </a:pPr>
              <a:r>
                <a:rPr lang="en-CA" altLang="en-US" sz="1600" b="1" dirty="0">
                  <a:solidFill>
                    <a:schemeClr val="bg2">
                      <a:lumMod val="25000"/>
                    </a:schemeClr>
                  </a:solidFill>
                  <a:latin typeface="+mj-lt"/>
                  <a:ea typeface="SimSun" pitchFamily="2" charset="-122"/>
                  <a:sym typeface="Arial" pitchFamily="34" charset="0"/>
                </a:rPr>
                <a:t>Harsha Chandrashekar</a:t>
              </a:r>
            </a:p>
            <a:p>
              <a:pPr eaLnBrk="1" hangingPunct="1">
                <a:lnSpc>
                  <a:spcPct val="100000"/>
                </a:lnSpc>
                <a:spcBef>
                  <a:spcPct val="0"/>
                </a:spcBef>
                <a:buFont typeface="Arial" pitchFamily="34" charset="0"/>
                <a:buNone/>
              </a:pPr>
              <a:r>
                <a:rPr lang="en-US" altLang="en-US" sz="1600" dirty="0">
                  <a:solidFill>
                    <a:schemeClr val="bg2">
                      <a:lumMod val="25000"/>
                    </a:schemeClr>
                  </a:solidFill>
                  <a:latin typeface="+mj-lt"/>
                  <a:ea typeface="SimSun" pitchFamily="2" charset="-122"/>
                  <a:cs typeface="Arial" pitchFamily="34" charset="0"/>
                </a:rPr>
                <a:t>Product Approvals &amp; Regulatory Leader </a:t>
              </a:r>
            </a:p>
            <a:p>
              <a:pPr eaLnBrk="1" hangingPunct="1">
                <a:lnSpc>
                  <a:spcPct val="100000"/>
                </a:lnSpc>
                <a:spcBef>
                  <a:spcPct val="0"/>
                </a:spcBef>
                <a:buFont typeface="Arial" pitchFamily="34" charset="0"/>
                <a:buNone/>
              </a:pPr>
              <a:r>
                <a:rPr lang="en-US" altLang="en-US" sz="1600" dirty="0">
                  <a:solidFill>
                    <a:schemeClr val="bg2">
                      <a:lumMod val="25000"/>
                    </a:schemeClr>
                  </a:solidFill>
                  <a:latin typeface="+mj-lt"/>
                  <a:ea typeface="SimSun" pitchFamily="2" charset="-122"/>
                  <a:cs typeface="Arial" pitchFamily="34" charset="0"/>
                </a:rPr>
                <a:t>Honeywell International</a:t>
              </a:r>
            </a:p>
          </p:txBody>
        </p:sp>
        <p:pic>
          <p:nvPicPr>
            <p:cNvPr id="43" name="Picture 42">
              <a:extLst>
                <a:ext uri="{FF2B5EF4-FFF2-40B4-BE49-F238E27FC236}">
                  <a16:creationId xmlns:a16="http://schemas.microsoft.com/office/drawing/2014/main" id="{DC581594-6A58-4E61-837A-FED11E50D6CE}"/>
                </a:ext>
              </a:extLst>
            </p:cNvPr>
            <p:cNvPicPr>
              <a:picLocks noChangeAspect="1"/>
            </p:cNvPicPr>
            <p:nvPr/>
          </p:nvPicPr>
          <p:blipFill rotWithShape="1">
            <a:blip r:embed="rId7"/>
            <a:srcRect l="8992" t="36439" r="10686" b="38325"/>
            <a:stretch/>
          </p:blipFill>
          <p:spPr>
            <a:xfrm>
              <a:off x="3129062" y="3943118"/>
              <a:ext cx="1662895" cy="403629"/>
            </a:xfrm>
            <a:prstGeom prst="rect">
              <a:avLst/>
            </a:prstGeom>
          </p:spPr>
        </p:pic>
        <p:pic>
          <p:nvPicPr>
            <p:cNvPr id="2" name="Picture 1">
              <a:extLst>
                <a:ext uri="{FF2B5EF4-FFF2-40B4-BE49-F238E27FC236}">
                  <a16:creationId xmlns:a16="http://schemas.microsoft.com/office/drawing/2014/main" id="{B934E16E-BECC-4A57-8DBD-7B9E3C27B31F}"/>
                </a:ext>
              </a:extLst>
            </p:cNvPr>
            <p:cNvPicPr>
              <a:picLocks noChangeAspect="1"/>
            </p:cNvPicPr>
            <p:nvPr/>
          </p:nvPicPr>
          <p:blipFill>
            <a:blip r:embed="rId8"/>
            <a:stretch>
              <a:fillRect/>
            </a:stretch>
          </p:blipFill>
          <p:spPr>
            <a:xfrm>
              <a:off x="625630" y="4026711"/>
              <a:ext cx="1267662" cy="257361"/>
            </a:xfrm>
            <a:prstGeom prst="rect">
              <a:avLst/>
            </a:prstGeom>
          </p:spPr>
        </p:pic>
        <p:sp>
          <p:nvSpPr>
            <p:cNvPr id="3" name="Rectangle 5">
              <a:extLst>
                <a:ext uri="{FF2B5EF4-FFF2-40B4-BE49-F238E27FC236}">
                  <a16:creationId xmlns:a16="http://schemas.microsoft.com/office/drawing/2014/main" id="{F6BAC5C6-1DD2-48EF-8DEB-72595E31DFE8}"/>
                </a:ext>
              </a:extLst>
            </p:cNvPr>
            <p:cNvSpPr>
              <a:spLocks noChangeArrowheads="1"/>
            </p:cNvSpPr>
            <p:nvPr/>
          </p:nvSpPr>
          <p:spPr bwMode="auto">
            <a:xfrm>
              <a:off x="8326076" y="2744309"/>
              <a:ext cx="2148635" cy="13693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SBC Vice-Chair</a:t>
              </a:r>
            </a:p>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Chris Larry </a:t>
              </a:r>
            </a:p>
            <a:p>
              <a:pPr eaLnBrk="1" hangingPunct="1">
                <a:lnSpc>
                  <a:spcPct val="100000"/>
                </a:lnSpc>
                <a:spcBef>
                  <a:spcPct val="0"/>
                </a:spcBef>
                <a:buFont typeface="Arial" pitchFamily="34" charset="0"/>
                <a:buNone/>
              </a:pPr>
              <a:r>
                <a:rPr lang="en-US" altLang="en-US" sz="1400" dirty="0">
                  <a:solidFill>
                    <a:schemeClr val="bg2">
                      <a:lumMod val="25000"/>
                    </a:schemeClr>
                  </a:solidFill>
                  <a:latin typeface="+mj-lt"/>
                  <a:ea typeface="SimSun" pitchFamily="2" charset="-122"/>
                  <a:cs typeface="Arial" pitchFamily="34" charset="0"/>
                </a:rPr>
                <a:t>Director of Energy Engineering </a:t>
              </a:r>
            </a:p>
            <a:p>
              <a:pPr eaLnBrk="1" hangingPunct="1">
                <a:lnSpc>
                  <a:spcPct val="100000"/>
                </a:lnSpc>
                <a:spcBef>
                  <a:spcPct val="0"/>
                </a:spcBef>
                <a:buFont typeface="Arial" pitchFamily="34" charset="0"/>
                <a:buNone/>
              </a:pPr>
              <a:r>
                <a:rPr lang="en-US" altLang="en-US" sz="1400" dirty="0">
                  <a:solidFill>
                    <a:schemeClr val="bg2">
                      <a:lumMod val="25000"/>
                    </a:schemeClr>
                  </a:solidFill>
                  <a:latin typeface="+mj-lt"/>
                  <a:ea typeface="SimSun" pitchFamily="2" charset="-122"/>
                  <a:cs typeface="Arial" pitchFamily="34" charset="0"/>
                </a:rPr>
                <a:t>Exp US Services Inc.</a:t>
              </a:r>
              <a:endParaRPr lang="en-CA" altLang="en-US" sz="1400" dirty="0">
                <a:solidFill>
                  <a:schemeClr val="bg2">
                    <a:lumMod val="25000"/>
                  </a:schemeClr>
                </a:solidFill>
                <a:latin typeface="+mj-lt"/>
                <a:ea typeface="SimSun" pitchFamily="2" charset="-122"/>
                <a:cs typeface="Arial" pitchFamily="34" charset="0"/>
              </a:endParaRPr>
            </a:p>
          </p:txBody>
        </p:sp>
        <p:pic>
          <p:nvPicPr>
            <p:cNvPr id="1034" name="Picture 10" descr="J. Christopher Larry">
              <a:extLst>
                <a:ext uri="{FF2B5EF4-FFF2-40B4-BE49-F238E27FC236}">
                  <a16:creationId xmlns:a16="http://schemas.microsoft.com/office/drawing/2014/main" id="{FBC34BE5-F826-4F2A-8193-2E55BA20139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6230" r="26005" b="51412"/>
            <a:stretch/>
          </p:blipFill>
          <p:spPr bwMode="auto">
            <a:xfrm>
              <a:off x="8409581" y="1144728"/>
              <a:ext cx="1599431" cy="162696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Engineering, Architecture, Design and Consulting | EXP">
              <a:extLst>
                <a:ext uri="{FF2B5EF4-FFF2-40B4-BE49-F238E27FC236}">
                  <a16:creationId xmlns:a16="http://schemas.microsoft.com/office/drawing/2014/main" id="{A1275E03-2E3F-41B2-8846-6E0BB2E1FD5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4152" b="23261"/>
            <a:stretch/>
          </p:blipFill>
          <p:spPr bwMode="auto">
            <a:xfrm>
              <a:off x="8385455" y="3893289"/>
              <a:ext cx="1014938" cy="5337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28939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199" y="41865"/>
            <a:ext cx="10609264" cy="1266235"/>
          </a:xfrm>
        </p:spPr>
        <p:txBody>
          <a:bodyPr/>
          <a:lstStyle/>
          <a:p>
            <a:r>
              <a:rPr lang="en-US" sz="2800" b="1" dirty="0"/>
              <a:t>2.  Administrative </a:t>
            </a:r>
            <a:br>
              <a:rPr lang="en-US" sz="2800" dirty="0"/>
            </a:br>
            <a:r>
              <a:rPr lang="sv-SE" sz="2800" dirty="0"/>
              <a:t>Robert Lane (Robert H. Lane &amp; Associates Inc.)</a:t>
            </a:r>
            <a:endParaRPr lang="en-US" sz="2800" dirty="0"/>
          </a:p>
        </p:txBody>
      </p:sp>
      <p:sp>
        <p:nvSpPr>
          <p:cNvPr id="6" name="Text Placeholder 5">
            <a:extLst>
              <a:ext uri="{FF2B5EF4-FFF2-40B4-BE49-F238E27FC236}">
                <a16:creationId xmlns:a16="http://schemas.microsoft.com/office/drawing/2014/main" id="{A0EE4CC9-0880-42C6-9DE7-6F418E1E107B}"/>
              </a:ext>
            </a:extLst>
          </p:cNvPr>
          <p:cNvSpPr>
            <a:spLocks noGrp="1"/>
          </p:cNvSpPr>
          <p:nvPr>
            <p:ph type="body" sz="quarter" idx="12"/>
          </p:nvPr>
        </p:nvSpPr>
        <p:spPr>
          <a:xfrm>
            <a:off x="5695950" y="2736397"/>
            <a:ext cx="5751513" cy="1385206"/>
          </a:xfrm>
        </p:spPr>
        <p:txBody>
          <a:bodyPr>
            <a:normAutofit/>
          </a:bodyPr>
          <a:lstStyle/>
          <a:p>
            <a:pPr marL="0" indent="0">
              <a:buNone/>
            </a:pPr>
            <a:r>
              <a:rPr lang="en-US" dirty="0"/>
              <a:t>Approval of SBC Minutes </a:t>
            </a:r>
            <a:br>
              <a:rPr lang="en-US" dirty="0"/>
            </a:br>
            <a:r>
              <a:rPr lang="en-US" dirty="0"/>
              <a:t>November 20, 2025</a:t>
            </a:r>
          </a:p>
          <a:p>
            <a:pPr marL="0" indent="0">
              <a:buNone/>
            </a:pPr>
            <a:r>
              <a:rPr lang="en-US" u="sng" dirty="0">
                <a:hlinkClick r:id="rId2"/>
              </a:rPr>
              <a:t>www.ashb.com/sbc </a:t>
            </a:r>
            <a:endParaRPr lang="en-US" dirty="0"/>
          </a:p>
          <a:p>
            <a:endParaRPr lang="en-CA"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4</a:t>
            </a:fld>
            <a:endParaRPr lang="en-US"/>
          </a:p>
        </p:txBody>
      </p:sp>
      <p:pic>
        <p:nvPicPr>
          <p:cNvPr id="7" name="Picture 6">
            <a:extLst>
              <a:ext uri="{FF2B5EF4-FFF2-40B4-BE49-F238E27FC236}">
                <a16:creationId xmlns:a16="http://schemas.microsoft.com/office/drawing/2014/main" id="{926718CD-9DAD-4A35-871D-880B7A9D458D}"/>
              </a:ext>
            </a:extLst>
          </p:cNvPr>
          <p:cNvPicPr>
            <a:picLocks noChangeAspect="1"/>
          </p:cNvPicPr>
          <p:nvPr/>
        </p:nvPicPr>
        <p:blipFill>
          <a:blip r:embed="rId3"/>
          <a:stretch>
            <a:fillRect/>
          </a:stretch>
        </p:blipFill>
        <p:spPr>
          <a:xfrm>
            <a:off x="1453415" y="2330451"/>
            <a:ext cx="3714750" cy="2476500"/>
          </a:xfrm>
          <a:prstGeom prst="rect">
            <a:avLst/>
          </a:prstGeom>
        </p:spPr>
      </p:pic>
    </p:spTree>
    <p:extLst>
      <p:ext uri="{BB962C8B-B14F-4D97-AF65-F5344CB8AC3E}">
        <p14:creationId xmlns:p14="http://schemas.microsoft.com/office/powerpoint/2010/main" val="3246698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53077-9A2A-8208-1F1D-D44F6165AF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31E869-F888-E078-7662-83FDB7CB4F48}"/>
              </a:ext>
            </a:extLst>
          </p:cNvPr>
          <p:cNvSpPr>
            <a:spLocks noGrp="1"/>
          </p:cNvSpPr>
          <p:nvPr>
            <p:ph type="title"/>
          </p:nvPr>
        </p:nvSpPr>
        <p:spPr>
          <a:xfrm>
            <a:off x="839787" y="14143"/>
            <a:ext cx="9848199" cy="1588230"/>
          </a:xfrm>
        </p:spPr>
        <p:txBody>
          <a:bodyPr/>
          <a:lstStyle/>
          <a:p>
            <a:r>
              <a:rPr lang="en-US" sz="2800" b="1" dirty="0"/>
              <a:t>3.  Research Update</a:t>
            </a:r>
            <a:br>
              <a:rPr lang="en-US" sz="2800" dirty="0"/>
            </a:br>
            <a:r>
              <a:rPr lang="sv-SE" sz="2800" dirty="0"/>
              <a:t>Greg Walker (ASHB)</a:t>
            </a:r>
            <a:endParaRPr lang="en-US" sz="2800" dirty="0"/>
          </a:p>
        </p:txBody>
      </p:sp>
      <p:sp>
        <p:nvSpPr>
          <p:cNvPr id="4" name="Text Placeholder 3">
            <a:extLst>
              <a:ext uri="{FF2B5EF4-FFF2-40B4-BE49-F238E27FC236}">
                <a16:creationId xmlns:a16="http://schemas.microsoft.com/office/drawing/2014/main" id="{5CC5C83E-0EA1-F13C-DF86-C99A6AF2B0F1}"/>
              </a:ext>
            </a:extLst>
          </p:cNvPr>
          <p:cNvSpPr>
            <a:spLocks noGrp="1"/>
          </p:cNvSpPr>
          <p:nvPr>
            <p:ph type="body" sz="quarter" idx="12"/>
          </p:nvPr>
        </p:nvSpPr>
        <p:spPr>
          <a:xfrm>
            <a:off x="4842911" y="1445903"/>
            <a:ext cx="6509302" cy="945573"/>
          </a:xfrm>
        </p:spPr>
        <p:txBody>
          <a:bodyPr vert="horz" lIns="91440" tIns="45720" rIns="91440" bIns="45720" rtlCol="0">
            <a:noAutofit/>
          </a:bodyPr>
          <a:lstStyle/>
          <a:p>
            <a:pPr marL="0" indent="0" algn="ctr">
              <a:buNone/>
            </a:pPr>
            <a:r>
              <a:rPr lang="en-US" sz="2200" b="1" dirty="0"/>
              <a:t>2025 SBC Landmark Research</a:t>
            </a:r>
            <a:br>
              <a:rPr lang="en-US" sz="2200" b="1" dirty="0"/>
            </a:br>
            <a:r>
              <a:rPr lang="en-US" sz="2200" b="1" dirty="0"/>
              <a:t>Smart Building Trends &amp; Technology Adoption</a:t>
            </a:r>
          </a:p>
        </p:txBody>
      </p:sp>
      <p:sp>
        <p:nvSpPr>
          <p:cNvPr id="5" name="Slide Number Placeholder 4">
            <a:extLst>
              <a:ext uri="{FF2B5EF4-FFF2-40B4-BE49-F238E27FC236}">
                <a16:creationId xmlns:a16="http://schemas.microsoft.com/office/drawing/2014/main" id="{B71DEAF1-51CE-9305-B431-C2CC215F2318}"/>
              </a:ext>
            </a:extLst>
          </p:cNvPr>
          <p:cNvSpPr>
            <a:spLocks noGrp="1"/>
          </p:cNvSpPr>
          <p:nvPr>
            <p:ph type="sldNum" sz="quarter" idx="14"/>
          </p:nvPr>
        </p:nvSpPr>
        <p:spPr/>
        <p:txBody>
          <a:bodyPr/>
          <a:lstStyle/>
          <a:p>
            <a:fld id="{4658F449-AC56-C64A-8488-86A10DE691DA}" type="slidenum">
              <a:rPr lang="en-US" smtClean="0"/>
              <a:pPr/>
              <a:t>5</a:t>
            </a:fld>
            <a:endParaRPr lang="en-US" dirty="0"/>
          </a:p>
        </p:txBody>
      </p:sp>
      <p:sp>
        <p:nvSpPr>
          <p:cNvPr id="11" name="TextBox 10">
            <a:extLst>
              <a:ext uri="{FF2B5EF4-FFF2-40B4-BE49-F238E27FC236}">
                <a16:creationId xmlns:a16="http://schemas.microsoft.com/office/drawing/2014/main" id="{68F7C61F-4833-C04C-4FF6-A29772660F67}"/>
              </a:ext>
            </a:extLst>
          </p:cNvPr>
          <p:cNvSpPr txBox="1"/>
          <p:nvPr/>
        </p:nvSpPr>
        <p:spPr>
          <a:xfrm>
            <a:off x="6139898" y="2276720"/>
            <a:ext cx="3880402" cy="400110"/>
          </a:xfrm>
          <a:prstGeom prst="rect">
            <a:avLst/>
          </a:prstGeom>
          <a:noFill/>
        </p:spPr>
        <p:txBody>
          <a:bodyPr wrap="square" rtlCol="0">
            <a:spAutoFit/>
          </a:bodyPr>
          <a:lstStyle/>
          <a:p>
            <a:pPr algn="ctr"/>
            <a:r>
              <a:rPr lang="en-US" sz="2000" b="1" u="sng" dirty="0"/>
              <a:t>Funders</a:t>
            </a:r>
            <a:endParaRPr lang="en-CA" sz="2400" b="1" u="sng" dirty="0"/>
          </a:p>
        </p:txBody>
      </p:sp>
      <p:sp>
        <p:nvSpPr>
          <p:cNvPr id="6" name="TextBox 5">
            <a:extLst>
              <a:ext uri="{FF2B5EF4-FFF2-40B4-BE49-F238E27FC236}">
                <a16:creationId xmlns:a16="http://schemas.microsoft.com/office/drawing/2014/main" id="{D617851A-3C09-B805-A0B5-4DC6487E299B}"/>
              </a:ext>
            </a:extLst>
          </p:cNvPr>
          <p:cNvSpPr txBox="1"/>
          <p:nvPr/>
        </p:nvSpPr>
        <p:spPr>
          <a:xfrm>
            <a:off x="6964127" y="4850553"/>
            <a:ext cx="4157383" cy="923330"/>
          </a:xfrm>
          <a:prstGeom prst="rect">
            <a:avLst/>
          </a:prstGeom>
          <a:noFill/>
        </p:spPr>
        <p:txBody>
          <a:bodyPr wrap="square" rtlCol="0">
            <a:spAutoFit/>
          </a:bodyPr>
          <a:lstStyle/>
          <a:p>
            <a:pPr algn="ctr"/>
            <a:r>
              <a:rPr lang="en-US" dirty="0"/>
              <a:t>Contact </a:t>
            </a:r>
            <a:r>
              <a:rPr lang="en-US" dirty="0">
                <a:hlinkClick r:id="rId2"/>
              </a:rPr>
              <a:t>admin@ashb.com</a:t>
            </a:r>
            <a:r>
              <a:rPr lang="en-US" dirty="0"/>
              <a:t> to obtain research findings and to join as a funder.</a:t>
            </a:r>
            <a:endParaRPr lang="en-CA" dirty="0"/>
          </a:p>
        </p:txBody>
      </p:sp>
      <p:pic>
        <p:nvPicPr>
          <p:cNvPr id="9" name="Picture 8">
            <a:extLst>
              <a:ext uri="{FF2B5EF4-FFF2-40B4-BE49-F238E27FC236}">
                <a16:creationId xmlns:a16="http://schemas.microsoft.com/office/drawing/2014/main" id="{126AAFCD-8469-548A-6859-534D6E654D30}"/>
              </a:ext>
            </a:extLst>
          </p:cNvPr>
          <p:cNvPicPr>
            <a:picLocks noChangeAspect="1"/>
          </p:cNvPicPr>
          <p:nvPr/>
        </p:nvPicPr>
        <p:blipFill>
          <a:blip r:embed="rId3"/>
          <a:srcRect l="6436" t="7384" r="7112" b="7037"/>
          <a:stretch/>
        </p:blipFill>
        <p:spPr>
          <a:xfrm>
            <a:off x="5832379" y="4756731"/>
            <a:ext cx="1110073" cy="1098857"/>
          </a:xfrm>
          <a:prstGeom prst="rect">
            <a:avLst/>
          </a:prstGeom>
        </p:spPr>
      </p:pic>
      <p:pic>
        <p:nvPicPr>
          <p:cNvPr id="7" name="Picture 6" descr="A poster of a city with buildings and icons&#10;&#10;AI-generated content may be incorrect.">
            <a:extLst>
              <a:ext uri="{FF2B5EF4-FFF2-40B4-BE49-F238E27FC236}">
                <a16:creationId xmlns:a16="http://schemas.microsoft.com/office/drawing/2014/main" id="{42821EDF-A797-F558-4D25-146DD749C69A}"/>
              </a:ext>
            </a:extLst>
          </p:cNvPr>
          <p:cNvPicPr>
            <a:picLocks noChangeAspect="1"/>
          </p:cNvPicPr>
          <p:nvPr/>
        </p:nvPicPr>
        <p:blipFill>
          <a:blip r:embed="rId4"/>
          <a:stretch>
            <a:fillRect/>
          </a:stretch>
        </p:blipFill>
        <p:spPr>
          <a:xfrm>
            <a:off x="778367" y="1240819"/>
            <a:ext cx="3704666" cy="47942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descr="A group of logos on a black background&#10;&#10;AI-generated content may be incorrect.">
            <a:extLst>
              <a:ext uri="{FF2B5EF4-FFF2-40B4-BE49-F238E27FC236}">
                <a16:creationId xmlns:a16="http://schemas.microsoft.com/office/drawing/2014/main" id="{BB514109-63DF-E6DB-5135-CAD20E29D49E}"/>
              </a:ext>
            </a:extLst>
          </p:cNvPr>
          <p:cNvPicPr>
            <a:picLocks noChangeAspect="1"/>
          </p:cNvPicPr>
          <p:nvPr/>
        </p:nvPicPr>
        <p:blipFill>
          <a:blip r:embed="rId5"/>
          <a:stretch>
            <a:fillRect/>
          </a:stretch>
        </p:blipFill>
        <p:spPr>
          <a:xfrm>
            <a:off x="4842911" y="2769880"/>
            <a:ext cx="7014248" cy="1665219"/>
          </a:xfrm>
          <a:prstGeom prst="rect">
            <a:avLst/>
          </a:prstGeom>
        </p:spPr>
      </p:pic>
    </p:spTree>
    <p:extLst>
      <p:ext uri="{BB962C8B-B14F-4D97-AF65-F5344CB8AC3E}">
        <p14:creationId xmlns:p14="http://schemas.microsoft.com/office/powerpoint/2010/main" val="1699885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83D11-DEC4-4BFF-88BB-8FB2206CEB37}"/>
              </a:ext>
            </a:extLst>
          </p:cNvPr>
          <p:cNvSpPr>
            <a:spLocks noGrp="1"/>
          </p:cNvSpPr>
          <p:nvPr>
            <p:ph type="title"/>
          </p:nvPr>
        </p:nvSpPr>
        <p:spPr>
          <a:xfrm>
            <a:off x="839787" y="14143"/>
            <a:ext cx="9848199" cy="447675"/>
          </a:xfrm>
        </p:spPr>
        <p:txBody>
          <a:bodyPr/>
          <a:lstStyle/>
          <a:p>
            <a:r>
              <a:rPr lang="en-US" sz="2800" b="1" dirty="0"/>
              <a:t>3.  Research Update</a:t>
            </a:r>
            <a:br>
              <a:rPr lang="en-US" sz="2800" dirty="0"/>
            </a:br>
            <a:r>
              <a:rPr lang="en-US" sz="2800" dirty="0"/>
              <a:t>Greg Walker (ASHB)</a:t>
            </a:r>
          </a:p>
        </p:txBody>
      </p:sp>
      <p:sp>
        <p:nvSpPr>
          <p:cNvPr id="4" name="Text Placeholder 3">
            <a:extLst>
              <a:ext uri="{FF2B5EF4-FFF2-40B4-BE49-F238E27FC236}">
                <a16:creationId xmlns:a16="http://schemas.microsoft.com/office/drawing/2014/main" id="{E8E02AC0-EA95-4CA2-B250-70F98D25C504}"/>
              </a:ext>
            </a:extLst>
          </p:cNvPr>
          <p:cNvSpPr>
            <a:spLocks noGrp="1"/>
          </p:cNvSpPr>
          <p:nvPr>
            <p:ph type="body" sz="quarter" idx="12"/>
          </p:nvPr>
        </p:nvSpPr>
        <p:spPr>
          <a:xfrm>
            <a:off x="292327" y="1392148"/>
            <a:ext cx="11638416" cy="945573"/>
          </a:xfrm>
        </p:spPr>
        <p:txBody>
          <a:bodyPr>
            <a:normAutofit lnSpcReduction="10000"/>
          </a:bodyPr>
          <a:lstStyle/>
          <a:p>
            <a:pPr marL="0" indent="0" algn="ctr">
              <a:buNone/>
            </a:pPr>
            <a:r>
              <a:rPr lang="en-US" dirty="0"/>
              <a:t>Annual BACS </a:t>
            </a:r>
          </a:p>
          <a:p>
            <a:pPr marL="0" indent="0" algn="ctr">
              <a:buNone/>
            </a:pPr>
            <a:r>
              <a:rPr lang="en-US" dirty="0"/>
              <a:t>Market Sizing North America</a:t>
            </a:r>
            <a:endParaRPr lang="en-CA" dirty="0"/>
          </a:p>
        </p:txBody>
      </p:sp>
      <p:sp>
        <p:nvSpPr>
          <p:cNvPr id="5" name="Slide Number Placeholder 4">
            <a:extLst>
              <a:ext uri="{FF2B5EF4-FFF2-40B4-BE49-F238E27FC236}">
                <a16:creationId xmlns:a16="http://schemas.microsoft.com/office/drawing/2014/main" id="{40955CF1-E7E6-4541-A1EA-E7E723C9D7CD}"/>
              </a:ext>
            </a:extLst>
          </p:cNvPr>
          <p:cNvSpPr>
            <a:spLocks noGrp="1"/>
          </p:cNvSpPr>
          <p:nvPr>
            <p:ph type="sldNum" sz="quarter" idx="14"/>
          </p:nvPr>
        </p:nvSpPr>
        <p:spPr/>
        <p:txBody>
          <a:bodyPr/>
          <a:lstStyle/>
          <a:p>
            <a:fld id="{4658F449-AC56-C64A-8488-86A10DE691DA}" type="slidenum">
              <a:rPr lang="en-US" smtClean="0"/>
              <a:pPr/>
              <a:t>6</a:t>
            </a:fld>
            <a:endParaRPr lang="en-US" dirty="0"/>
          </a:p>
        </p:txBody>
      </p:sp>
      <p:pic>
        <p:nvPicPr>
          <p:cNvPr id="3" name="Picture 4" descr="Temperature Controller Ref. Honeywell R3h710rf0005">
            <a:extLst>
              <a:ext uri="{FF2B5EF4-FFF2-40B4-BE49-F238E27FC236}">
                <a16:creationId xmlns:a16="http://schemas.microsoft.com/office/drawing/2014/main" id="{2A856E1C-BA9F-967D-1712-C6221C223BA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459" b="32799"/>
          <a:stretch/>
        </p:blipFill>
        <p:spPr bwMode="auto">
          <a:xfrm>
            <a:off x="10392777" y="3922322"/>
            <a:ext cx="1638987" cy="3846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Schneider Electric Canada | Global Specialist in Energy Management and  Automation">
            <a:extLst>
              <a:ext uri="{FF2B5EF4-FFF2-40B4-BE49-F238E27FC236}">
                <a16:creationId xmlns:a16="http://schemas.microsoft.com/office/drawing/2014/main" id="{8414B639-67B7-3124-7A5E-D10A67FAD4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0653" b="28422"/>
          <a:stretch/>
        </p:blipFill>
        <p:spPr bwMode="auto">
          <a:xfrm>
            <a:off x="8164730" y="4771190"/>
            <a:ext cx="1418922" cy="605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317BDC61-2D01-8018-7AA0-38BE50FC51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55169" y="2888876"/>
            <a:ext cx="1199606" cy="5020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ome | Automated Logic">
            <a:extLst>
              <a:ext uri="{FF2B5EF4-FFF2-40B4-BE49-F238E27FC236}">
                <a16:creationId xmlns:a16="http://schemas.microsoft.com/office/drawing/2014/main" id="{D2A00FE0-21C1-499F-8023-62B176C8A1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12567" y="2914277"/>
            <a:ext cx="1431381" cy="48761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Belimo - Belimo Americas #4 on Vimeo">
            <a:extLst>
              <a:ext uri="{FF2B5EF4-FFF2-40B4-BE49-F238E27FC236}">
                <a16:creationId xmlns:a16="http://schemas.microsoft.com/office/drawing/2014/main" id="{1E0BD2BD-15C5-2653-BEF8-7BC75EBF02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33735" y="3819570"/>
            <a:ext cx="1217257" cy="5034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Johnson Controls Logo PNG Image for Free">
            <a:extLst>
              <a:ext uri="{FF2B5EF4-FFF2-40B4-BE49-F238E27FC236}">
                <a16:creationId xmlns:a16="http://schemas.microsoft.com/office/drawing/2014/main" id="{6403EB5D-6790-1F6B-8C3C-CA31A4F7F2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5383" y="4633704"/>
            <a:ext cx="1406178" cy="67143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Building Management Systems vs. Building Automation Systems - MACC">
            <a:extLst>
              <a:ext uri="{FF2B5EF4-FFF2-40B4-BE49-F238E27FC236}">
                <a16:creationId xmlns:a16="http://schemas.microsoft.com/office/drawing/2014/main" id="{A2D39FEA-13D8-47FF-4594-5166257845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2768" y="2579606"/>
            <a:ext cx="5429250" cy="304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Siemens-Logo | EIT RawMaterials">
            <a:extLst>
              <a:ext uri="{FF2B5EF4-FFF2-40B4-BE49-F238E27FC236}">
                <a16:creationId xmlns:a16="http://schemas.microsoft.com/office/drawing/2014/main" id="{64FCCBCC-6B3D-6209-D8EC-BCCD7ADC693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779" t="20396" r="17583" b="47040"/>
          <a:stretch/>
        </p:blipFill>
        <p:spPr bwMode="auto">
          <a:xfrm>
            <a:off x="9905771" y="4891290"/>
            <a:ext cx="1222615" cy="2288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istech Controls | Intelligent Building Solutions">
            <a:extLst>
              <a:ext uri="{FF2B5EF4-FFF2-40B4-BE49-F238E27FC236}">
                <a16:creationId xmlns:a16="http://schemas.microsoft.com/office/drawing/2014/main" id="{A673CAA3-99D2-00AD-3C03-CD15E5F95F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83849" y="3781511"/>
            <a:ext cx="1199606" cy="62979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BB - Wikipedia">
            <a:extLst>
              <a:ext uri="{FF2B5EF4-FFF2-40B4-BE49-F238E27FC236}">
                <a16:creationId xmlns:a16="http://schemas.microsoft.com/office/drawing/2014/main" id="{51448CA5-76D2-7E3F-3116-2C2BC88D67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85324" y="2962219"/>
            <a:ext cx="1106101" cy="4396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blue and black logo&#10;&#10;AI-generated content may be incorrect.">
            <a:extLst>
              <a:ext uri="{FF2B5EF4-FFF2-40B4-BE49-F238E27FC236}">
                <a16:creationId xmlns:a16="http://schemas.microsoft.com/office/drawing/2014/main" id="{FB87CE7F-712F-70FC-5806-7A5B91CA7AB3}"/>
              </a:ext>
            </a:extLst>
          </p:cNvPr>
          <p:cNvPicPr>
            <a:picLocks noChangeAspect="1"/>
          </p:cNvPicPr>
          <p:nvPr/>
        </p:nvPicPr>
        <p:blipFill>
          <a:blip r:embed="rId12"/>
          <a:stretch>
            <a:fillRect/>
          </a:stretch>
        </p:blipFill>
        <p:spPr>
          <a:xfrm>
            <a:off x="7385544" y="3795420"/>
            <a:ext cx="1338352" cy="563544"/>
          </a:xfrm>
          <a:prstGeom prst="rect">
            <a:avLst/>
          </a:prstGeom>
        </p:spPr>
      </p:pic>
    </p:spTree>
    <p:extLst>
      <p:ext uri="{BB962C8B-B14F-4D97-AF65-F5344CB8AC3E}">
        <p14:creationId xmlns:p14="http://schemas.microsoft.com/office/powerpoint/2010/main" val="2810676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48012-E7C6-AAB6-7416-A70735696C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05EB08-CB4E-E65F-A89D-463B8C99F6A3}"/>
              </a:ext>
            </a:extLst>
          </p:cNvPr>
          <p:cNvSpPr>
            <a:spLocks noGrp="1"/>
          </p:cNvSpPr>
          <p:nvPr>
            <p:ph type="title"/>
          </p:nvPr>
        </p:nvSpPr>
        <p:spPr>
          <a:xfrm>
            <a:off x="839787" y="14143"/>
            <a:ext cx="9848199" cy="447675"/>
          </a:xfrm>
        </p:spPr>
        <p:txBody>
          <a:bodyPr/>
          <a:lstStyle/>
          <a:p>
            <a:r>
              <a:rPr lang="en-US" sz="2800" b="1" dirty="0"/>
              <a:t>3.  Research Update</a:t>
            </a:r>
            <a:br>
              <a:rPr lang="en-US" sz="2800" dirty="0"/>
            </a:br>
            <a:r>
              <a:rPr lang="en-US" sz="2800" dirty="0"/>
              <a:t>Greg Walker (ASHB)</a:t>
            </a:r>
          </a:p>
        </p:txBody>
      </p:sp>
      <p:sp>
        <p:nvSpPr>
          <p:cNvPr id="4" name="Text Placeholder 3">
            <a:extLst>
              <a:ext uri="{FF2B5EF4-FFF2-40B4-BE49-F238E27FC236}">
                <a16:creationId xmlns:a16="http://schemas.microsoft.com/office/drawing/2014/main" id="{E0723BEC-B040-2D4E-D24B-237BED171E42}"/>
              </a:ext>
            </a:extLst>
          </p:cNvPr>
          <p:cNvSpPr>
            <a:spLocks noGrp="1"/>
          </p:cNvSpPr>
          <p:nvPr>
            <p:ph type="body" sz="quarter" idx="12"/>
          </p:nvPr>
        </p:nvSpPr>
        <p:spPr>
          <a:xfrm>
            <a:off x="5188368" y="1255392"/>
            <a:ext cx="6164943" cy="945573"/>
          </a:xfrm>
        </p:spPr>
        <p:txBody>
          <a:bodyPr>
            <a:normAutofit lnSpcReduction="10000"/>
          </a:bodyPr>
          <a:lstStyle/>
          <a:p>
            <a:pPr marL="0" indent="0" algn="ctr">
              <a:buNone/>
            </a:pPr>
            <a:r>
              <a:rPr lang="en-US" dirty="0"/>
              <a:t>Annual BACS </a:t>
            </a:r>
          </a:p>
          <a:p>
            <a:pPr marL="0" indent="0" algn="ctr">
              <a:buNone/>
            </a:pPr>
            <a:r>
              <a:rPr lang="en-US" dirty="0"/>
              <a:t>Market Sizing Europe</a:t>
            </a:r>
            <a:endParaRPr lang="en-CA" dirty="0"/>
          </a:p>
        </p:txBody>
      </p:sp>
      <p:sp>
        <p:nvSpPr>
          <p:cNvPr id="5" name="Slide Number Placeholder 4">
            <a:extLst>
              <a:ext uri="{FF2B5EF4-FFF2-40B4-BE49-F238E27FC236}">
                <a16:creationId xmlns:a16="http://schemas.microsoft.com/office/drawing/2014/main" id="{64A91822-1047-33FC-A8B8-6935D130D266}"/>
              </a:ext>
            </a:extLst>
          </p:cNvPr>
          <p:cNvSpPr>
            <a:spLocks noGrp="1"/>
          </p:cNvSpPr>
          <p:nvPr>
            <p:ph type="sldNum" sz="quarter" idx="14"/>
          </p:nvPr>
        </p:nvSpPr>
        <p:spPr/>
        <p:txBody>
          <a:bodyPr/>
          <a:lstStyle/>
          <a:p>
            <a:fld id="{4658F449-AC56-C64A-8488-86A10DE691DA}" type="slidenum">
              <a:rPr lang="en-US" smtClean="0"/>
              <a:pPr/>
              <a:t>7</a:t>
            </a:fld>
            <a:endParaRPr lang="en-US" dirty="0"/>
          </a:p>
        </p:txBody>
      </p:sp>
      <p:pic>
        <p:nvPicPr>
          <p:cNvPr id="3" name="Picture 4" descr="Temperature Controller Ref. Honeywell R3h710rf0005">
            <a:extLst>
              <a:ext uri="{FF2B5EF4-FFF2-40B4-BE49-F238E27FC236}">
                <a16:creationId xmlns:a16="http://schemas.microsoft.com/office/drawing/2014/main" id="{459E4BC2-E255-B4A1-DD65-3C5CAE89841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459" b="32799"/>
          <a:stretch/>
        </p:blipFill>
        <p:spPr bwMode="auto">
          <a:xfrm>
            <a:off x="10092431" y="3686387"/>
            <a:ext cx="1638987" cy="3846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Schneider Electric Canada | Global Specialist in Energy Management and  Automation">
            <a:extLst>
              <a:ext uri="{FF2B5EF4-FFF2-40B4-BE49-F238E27FC236}">
                <a16:creationId xmlns:a16="http://schemas.microsoft.com/office/drawing/2014/main" id="{61DE751A-DBF9-68DB-7023-B0DCBAA9C3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0653" b="28422"/>
          <a:stretch/>
        </p:blipFill>
        <p:spPr bwMode="auto">
          <a:xfrm>
            <a:off x="6763878" y="5221749"/>
            <a:ext cx="1418922" cy="605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FE6EC80-F7E0-7424-5C36-D160756D8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22058" y="2687935"/>
            <a:ext cx="1199606" cy="50202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Belimo - Belimo Americas #4 on Vimeo">
            <a:extLst>
              <a:ext uri="{FF2B5EF4-FFF2-40B4-BE49-F238E27FC236}">
                <a16:creationId xmlns:a16="http://schemas.microsoft.com/office/drawing/2014/main" id="{EE90DCCB-979E-D0EE-AE23-874E67CDA8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35104" y="2631206"/>
            <a:ext cx="1217257" cy="5034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Johnson Controls Logo PNG Image for Free">
            <a:extLst>
              <a:ext uri="{FF2B5EF4-FFF2-40B4-BE49-F238E27FC236}">
                <a16:creationId xmlns:a16="http://schemas.microsoft.com/office/drawing/2014/main" id="{10B91924-A4D1-B95A-F8CC-C59B3B57F71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6050" y="4298525"/>
            <a:ext cx="1406178" cy="67143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Siemens-Logo | EIT RawMaterials">
            <a:extLst>
              <a:ext uri="{FF2B5EF4-FFF2-40B4-BE49-F238E27FC236}">
                <a16:creationId xmlns:a16="http://schemas.microsoft.com/office/drawing/2014/main" id="{556AAA8C-CFB7-828B-6974-D7BDAA81906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779" t="20396" r="17583" b="47040"/>
          <a:stretch/>
        </p:blipFill>
        <p:spPr bwMode="auto">
          <a:xfrm>
            <a:off x="8522839" y="5324761"/>
            <a:ext cx="1344663" cy="25169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istech Controls | Intelligent Building Solutions">
            <a:extLst>
              <a:ext uri="{FF2B5EF4-FFF2-40B4-BE49-F238E27FC236}">
                <a16:creationId xmlns:a16="http://schemas.microsoft.com/office/drawing/2014/main" id="{245279FA-655A-0465-FD23-E6951C0F43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24840" y="3506668"/>
            <a:ext cx="1199606" cy="6297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over of a book&#10;&#10;AI-generated content may be incorrect.">
            <a:extLst>
              <a:ext uri="{FF2B5EF4-FFF2-40B4-BE49-F238E27FC236}">
                <a16:creationId xmlns:a16="http://schemas.microsoft.com/office/drawing/2014/main" id="{C075DFDF-2F7A-B159-6E64-BD2628BDF0C9}"/>
              </a:ext>
            </a:extLst>
          </p:cNvPr>
          <p:cNvPicPr>
            <a:picLocks noChangeAspect="1"/>
          </p:cNvPicPr>
          <p:nvPr/>
        </p:nvPicPr>
        <p:blipFill>
          <a:blip r:embed="rId9"/>
          <a:stretch>
            <a:fillRect/>
          </a:stretch>
        </p:blipFill>
        <p:spPr>
          <a:xfrm>
            <a:off x="857645" y="1392148"/>
            <a:ext cx="3526845" cy="45641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6" name="Picture 2" descr="Priva - Greenhouse CanadaGreenhouse Canada">
            <a:extLst>
              <a:ext uri="{FF2B5EF4-FFF2-40B4-BE49-F238E27FC236}">
                <a16:creationId xmlns:a16="http://schemas.microsoft.com/office/drawing/2014/main" id="{30266523-1A80-309E-60CA-3B0D77D5FDD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57697" y="4458659"/>
            <a:ext cx="1308457" cy="49557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uter Logo / Misc / Logonoid.com">
            <a:extLst>
              <a:ext uri="{FF2B5EF4-FFF2-40B4-BE49-F238E27FC236}">
                <a16:creationId xmlns:a16="http://schemas.microsoft.com/office/drawing/2014/main" id="{2BD294B0-F284-E62C-06E8-2176663601C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12933" y="5356998"/>
            <a:ext cx="1610906" cy="2448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518488D-217A-433E-C05D-5D60684CD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56950" y="2815002"/>
            <a:ext cx="1308457" cy="24789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BS GmbH - ctrlX AUTOMATION">
            <a:extLst>
              <a:ext uri="{FF2B5EF4-FFF2-40B4-BE49-F238E27FC236}">
                <a16:creationId xmlns:a16="http://schemas.microsoft.com/office/drawing/2014/main" id="{71DFF9B1-2033-6AC2-A28B-6B2AC5D7AD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02425" y="4282574"/>
            <a:ext cx="1222021" cy="68738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Neuer Markenauftritt von Kieback&amp;Peter | Kieback&amp;Peter">
            <a:extLst>
              <a:ext uri="{FF2B5EF4-FFF2-40B4-BE49-F238E27FC236}">
                <a16:creationId xmlns:a16="http://schemas.microsoft.com/office/drawing/2014/main" id="{A0AD7334-71B6-8CD2-AED8-CA0714B7137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33806" y="4589397"/>
            <a:ext cx="1666776" cy="2929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BB Logo PNG Transparent &amp; SVG Vector - Freebie Supply">
            <a:extLst>
              <a:ext uri="{FF2B5EF4-FFF2-40B4-BE49-F238E27FC236}">
                <a16:creationId xmlns:a16="http://schemas.microsoft.com/office/drawing/2014/main" id="{6DA24058-C0CE-A19C-06B9-FADE48C1C85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57244" y="2469866"/>
            <a:ext cx="1262567" cy="94692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WAGO GmbH - Wikipedia">
            <a:extLst>
              <a:ext uri="{FF2B5EF4-FFF2-40B4-BE49-F238E27FC236}">
                <a16:creationId xmlns:a16="http://schemas.microsoft.com/office/drawing/2014/main" id="{34DBC06B-E141-E323-0204-55D642D9370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12029" y="5213762"/>
            <a:ext cx="1254125" cy="45282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Building automation that inspires. - DEOS AG">
            <a:extLst>
              <a:ext uri="{FF2B5EF4-FFF2-40B4-BE49-F238E27FC236}">
                <a16:creationId xmlns:a16="http://schemas.microsoft.com/office/drawing/2014/main" id="{B62E0FA8-6721-CB4B-031E-A60055D2641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641506" y="3676930"/>
            <a:ext cx="1562066" cy="418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ue and black logo&#10;&#10;AI-generated content may be incorrect.">
            <a:extLst>
              <a:ext uri="{FF2B5EF4-FFF2-40B4-BE49-F238E27FC236}">
                <a16:creationId xmlns:a16="http://schemas.microsoft.com/office/drawing/2014/main" id="{AAFE4F88-DA6F-AEF2-7363-2AD59B035DEF}"/>
              </a:ext>
            </a:extLst>
          </p:cNvPr>
          <p:cNvPicPr>
            <a:picLocks noChangeAspect="1"/>
          </p:cNvPicPr>
          <p:nvPr/>
        </p:nvPicPr>
        <p:blipFill>
          <a:blip r:embed="rId18"/>
          <a:stretch>
            <a:fillRect/>
          </a:stretch>
        </p:blipFill>
        <p:spPr>
          <a:xfrm>
            <a:off x="4949210" y="3566978"/>
            <a:ext cx="1338352" cy="563544"/>
          </a:xfrm>
          <a:prstGeom prst="rect">
            <a:avLst/>
          </a:prstGeom>
        </p:spPr>
      </p:pic>
    </p:spTree>
    <p:extLst>
      <p:ext uri="{BB962C8B-B14F-4D97-AF65-F5344CB8AC3E}">
        <p14:creationId xmlns:p14="http://schemas.microsoft.com/office/powerpoint/2010/main" val="327031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lide Number Placeholder 5">
            <a:extLst>
              <a:ext uri="{FF2B5EF4-FFF2-40B4-BE49-F238E27FC236}">
                <a16:creationId xmlns:a16="http://schemas.microsoft.com/office/drawing/2014/main" id="{2D747220-3C0C-B3D6-61A1-2F2B31624E6D}"/>
              </a:ext>
            </a:extLst>
          </p:cNvPr>
          <p:cNvSpPr>
            <a:spLocks noGrp="1"/>
          </p:cNvSpPr>
          <p:nvPr>
            <p:ph type="sldNum" sz="quarter" idx="14"/>
          </p:nvPr>
        </p:nvSpPr>
        <p:spPr/>
        <p:txBody>
          <a:bodyPr/>
          <a:lstStyle/>
          <a:p>
            <a:pPr>
              <a:spcAft>
                <a:spcPts val="600"/>
              </a:spcAft>
            </a:pPr>
            <a:fld id="{4658F449-AC56-C64A-8488-86A10DE691DA}" type="slidenum">
              <a:rPr lang="en-US" smtClean="0"/>
              <a:pPr>
                <a:spcAft>
                  <a:spcPts val="600"/>
                </a:spcAft>
              </a:pPr>
              <a:t>8</a:t>
            </a:fld>
            <a:endParaRPr lang="en-US"/>
          </a:p>
        </p:txBody>
      </p:sp>
      <p:sp>
        <p:nvSpPr>
          <p:cNvPr id="7" name="Title 2">
            <a:extLst>
              <a:ext uri="{FF2B5EF4-FFF2-40B4-BE49-F238E27FC236}">
                <a16:creationId xmlns:a16="http://schemas.microsoft.com/office/drawing/2014/main" id="{2120AB85-4437-1759-C5DD-98A725F4D345}"/>
              </a:ext>
            </a:extLst>
          </p:cNvPr>
          <p:cNvSpPr txBox="1">
            <a:spLocks/>
          </p:cNvSpPr>
          <p:nvPr/>
        </p:nvSpPr>
        <p:spPr>
          <a:xfrm>
            <a:off x="838199" y="41865"/>
            <a:ext cx="10973499" cy="447675"/>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a:lstStyle>
          <a:p>
            <a:r>
              <a:rPr lang="en-US" sz="2800" b="1" dirty="0"/>
              <a:t>4.  Panel Discussion</a:t>
            </a:r>
            <a:br>
              <a:rPr lang="en-US" sz="2800" dirty="0"/>
            </a:br>
            <a:r>
              <a:rPr lang="en-US" altLang="en-US" sz="2800" dirty="0"/>
              <a:t>Harsha Chandrashekar (Honeywell International, Inc.)</a:t>
            </a:r>
            <a:endParaRPr lang="en-US" sz="2800" dirty="0"/>
          </a:p>
        </p:txBody>
      </p:sp>
      <p:pic>
        <p:nvPicPr>
          <p:cNvPr id="6" name="Picture 5">
            <a:extLst>
              <a:ext uri="{FF2B5EF4-FFF2-40B4-BE49-F238E27FC236}">
                <a16:creationId xmlns:a16="http://schemas.microsoft.com/office/drawing/2014/main" id="{B9B3C883-FAD3-F211-3460-7B0C07D668A6}"/>
              </a:ext>
            </a:extLst>
          </p:cNvPr>
          <p:cNvPicPr>
            <a:picLocks noChangeAspect="1"/>
          </p:cNvPicPr>
          <p:nvPr/>
        </p:nvPicPr>
        <p:blipFill>
          <a:blip r:embed="rId2"/>
          <a:stretch>
            <a:fillRect/>
          </a:stretch>
        </p:blipFill>
        <p:spPr>
          <a:xfrm>
            <a:off x="762347" y="3105780"/>
            <a:ext cx="10726057" cy="2605928"/>
          </a:xfrm>
          <a:prstGeom prst="rect">
            <a:avLst/>
          </a:prstGeom>
        </p:spPr>
      </p:pic>
      <p:sp>
        <p:nvSpPr>
          <p:cNvPr id="8" name="Title 2">
            <a:extLst>
              <a:ext uri="{FF2B5EF4-FFF2-40B4-BE49-F238E27FC236}">
                <a16:creationId xmlns:a16="http://schemas.microsoft.com/office/drawing/2014/main" id="{7D02E212-0D24-F569-E6F5-AC6D164D02E1}"/>
              </a:ext>
            </a:extLst>
          </p:cNvPr>
          <p:cNvSpPr txBox="1">
            <a:spLocks/>
          </p:cNvSpPr>
          <p:nvPr/>
        </p:nvSpPr>
        <p:spPr>
          <a:xfrm>
            <a:off x="762347" y="1269233"/>
            <a:ext cx="10973499" cy="185517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a:lstStyle>
          <a:p>
            <a:r>
              <a:rPr lang="en-US" sz="3200" b="1" dirty="0">
                <a:solidFill>
                  <a:schemeClr val="tx2"/>
                </a:solidFill>
              </a:rPr>
              <a:t>Panel Discussion:</a:t>
            </a:r>
          </a:p>
          <a:p>
            <a:endParaRPr lang="en-US" sz="1500" b="1" dirty="0">
              <a:solidFill>
                <a:schemeClr val="tx2"/>
              </a:solidFill>
            </a:endParaRPr>
          </a:p>
          <a:p>
            <a:r>
              <a:rPr lang="en-US" altLang="en-US" sz="3200" dirty="0">
                <a:solidFill>
                  <a:schemeClr val="tx2"/>
                </a:solidFill>
              </a:rPr>
              <a:t>Winning Mindshare with Mechanical Engineers and Consultants in Building Controls</a:t>
            </a:r>
            <a:endParaRPr lang="en-US" sz="3200" dirty="0">
              <a:solidFill>
                <a:schemeClr val="tx2"/>
              </a:solidFill>
            </a:endParaRPr>
          </a:p>
        </p:txBody>
      </p:sp>
    </p:spTree>
    <p:extLst>
      <p:ext uri="{BB962C8B-B14F-4D97-AF65-F5344CB8AC3E}">
        <p14:creationId xmlns:p14="http://schemas.microsoft.com/office/powerpoint/2010/main" val="2693195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7525ADB-5296-404C-BB05-A6A0E26586F5}"/>
              </a:ext>
            </a:extLst>
          </p:cNvPr>
          <p:cNvSpPr>
            <a:spLocks noGrp="1"/>
          </p:cNvSpPr>
          <p:nvPr>
            <p:ph type="subTitle" idx="4294967295"/>
          </p:nvPr>
        </p:nvSpPr>
        <p:spPr>
          <a:xfrm>
            <a:off x="876300" y="2937268"/>
            <a:ext cx="4562475" cy="2316964"/>
          </a:xfrm>
        </p:spPr>
        <p:txBody>
          <a:bodyPr>
            <a:normAutofit/>
          </a:bodyPr>
          <a:lstStyle/>
          <a:p>
            <a:pPr marL="0" indent="0">
              <a:buNone/>
            </a:pPr>
            <a:r>
              <a:rPr lang="en-US" sz="3600" dirty="0">
                <a:solidFill>
                  <a:schemeClr val="tx1"/>
                </a:solidFill>
              </a:rPr>
              <a:t>THANK YOU! </a:t>
            </a:r>
          </a:p>
          <a:p>
            <a:endParaRPr lang="en-US" sz="3600" dirty="0">
              <a:solidFill>
                <a:schemeClr val="tx1"/>
              </a:solidFill>
            </a:endParaRPr>
          </a:p>
          <a:p>
            <a:pPr marL="0" indent="0">
              <a:buNone/>
            </a:pPr>
            <a:r>
              <a:rPr lang="en-US" sz="3600" dirty="0">
                <a:solidFill>
                  <a:schemeClr val="tx1"/>
                </a:solidFill>
              </a:rPr>
              <a:t>Questions?</a:t>
            </a:r>
          </a:p>
        </p:txBody>
      </p:sp>
    </p:spTree>
    <p:extLst>
      <p:ext uri="{BB962C8B-B14F-4D97-AF65-F5344CB8AC3E}">
        <p14:creationId xmlns:p14="http://schemas.microsoft.com/office/powerpoint/2010/main" val="2658551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10.xml><?xml version="1.0" encoding="utf-8"?>
<a:theme xmlns:a="http://schemas.openxmlformats.org/drawingml/2006/main" name="1_COVER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ptx" id="{310A73EC-EBAE-4393-9B94-8429E646E1D4}" vid="{4DA060DE-5E07-467B-9B6D-295B8386EFAA}"/>
    </a:ext>
  </a:extLst>
</a:theme>
</file>

<file path=ppt/theme/theme11.xml><?xml version="1.0" encoding="utf-8"?>
<a:theme xmlns:a="http://schemas.openxmlformats.org/drawingml/2006/main" name="3_Blue_DIVIDER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ptx" id="{310A73EC-EBAE-4393-9B94-8429E646E1D4}" vid="{33CED253-DAB0-4416-9B98-826427E25F59}"/>
    </a:ext>
  </a:extLst>
</a:theme>
</file>

<file path=ppt/theme/theme12.xml><?xml version="1.0" encoding="utf-8"?>
<a:theme xmlns:a="http://schemas.openxmlformats.org/drawingml/2006/main" name="4_White_NO LOGO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otx  -  Read-Only" id="{B4BB6736-D789-46B0-BAAF-FA712C5DD2BC}" vid="{1E8CA1FD-88B4-4E86-803E-AD4070896510}"/>
    </a:ext>
  </a:extLst>
</a:theme>
</file>

<file path=ppt/theme/theme13.xml><?xml version="1.0" encoding="utf-8"?>
<a:theme xmlns:a="http://schemas.openxmlformats.org/drawingml/2006/main" name="4_Blue_DIVIDER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otx  -  Read-Only" id="{B4BB6736-D789-46B0-BAAF-FA712C5DD2BC}" vid="{61F1EF2B-060B-4681-AFA6-C65FE705E3DB}"/>
    </a:ext>
  </a:extLst>
</a:theme>
</file>

<file path=ppt/theme/theme14.xml><?xml version="1.0" encoding="utf-8"?>
<a:theme xmlns:a="http://schemas.openxmlformats.org/drawingml/2006/main" name="5_BLUE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ptx" id="{310A73EC-EBAE-4393-9B94-8429E646E1D4}" vid="{11B73A40-FEB5-4C70-A353-C886D8A80B15}"/>
    </a:ext>
  </a:extLst>
</a:theme>
</file>

<file path=ppt/theme/theme15.xml><?xml version="1.0" encoding="utf-8"?>
<a:theme xmlns:a="http://schemas.openxmlformats.org/drawingml/2006/main" name="3_WITH LOGO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ptx" id="{310A73EC-EBAE-4393-9B94-8429E646E1D4}" vid="{7A2E9613-7889-4E9D-8972-C4932E300D44}"/>
    </a:ext>
  </a:extLst>
</a:theme>
</file>

<file path=ppt/theme/theme16.xml><?xml version="1.0" encoding="utf-8"?>
<a:theme xmlns:a="http://schemas.openxmlformats.org/drawingml/2006/main" name="6_CASE STUDY_Jan_2025">
  <a:themeElements>
    <a:clrScheme name="Custom 7">
      <a:dk1>
        <a:srgbClr val="333740"/>
      </a:dk1>
      <a:lt1>
        <a:srgbClr val="FFFFFF"/>
      </a:lt1>
      <a:dk2>
        <a:srgbClr val="000070"/>
      </a:dk2>
      <a:lt2>
        <a:srgbClr val="FFFFFF"/>
      </a:lt2>
      <a:accent1>
        <a:srgbClr val="152EA9"/>
      </a:accent1>
      <a:accent2>
        <a:srgbClr val="00ADFF"/>
      </a:accent2>
      <a:accent3>
        <a:srgbClr val="2EE9FF"/>
      </a:accent3>
      <a:accent4>
        <a:srgbClr val="75E600"/>
      </a:accent4>
      <a:accent5>
        <a:srgbClr val="F58834"/>
      </a:accent5>
      <a:accent6>
        <a:srgbClr val="32C858"/>
      </a:accent6>
      <a:hlink>
        <a:srgbClr val="152EA9"/>
      </a:hlink>
      <a:folHlink>
        <a:srgbClr val="152E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PPT_Template.pptx" id="{310A73EC-EBAE-4393-9B94-8429E646E1D4}" vid="{A849D041-5410-42CD-8EF2-A6DCFFE8DDC4}"/>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7.xml><?xml version="1.0" encoding="utf-8"?>
<a:theme xmlns:a="http://schemas.openxmlformats.org/drawingml/2006/main" name="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9.xml><?xml version="1.0" encoding="utf-8"?>
<a:theme xmlns:a="http://schemas.openxmlformats.org/drawingml/2006/main" name="1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C827C2D24DC641BF3335721A0BFAD0" ma:contentTypeVersion="13" ma:contentTypeDescription="Create a new document." ma:contentTypeScope="" ma:versionID="d3c083629b15a1c7cbdea09e66ee7619">
  <xsd:schema xmlns:xsd="http://www.w3.org/2001/XMLSchema" xmlns:xs="http://www.w3.org/2001/XMLSchema" xmlns:p="http://schemas.microsoft.com/office/2006/metadata/properties" xmlns:ns2="94aa7f9c-35f7-4afe-8da5-56a177c74bd1" xmlns:ns3="d0c6ae89-1a0c-40bd-bfa0-b278409e1f38" targetNamespace="http://schemas.microsoft.com/office/2006/metadata/properties" ma:root="true" ma:fieldsID="344cdb94fbea305711c94cffb2b07143" ns2:_="" ns3:_="">
    <xsd:import namespace="94aa7f9c-35f7-4afe-8da5-56a177c74bd1"/>
    <xsd:import namespace="d0c6ae89-1a0c-40bd-bfa0-b278409e1f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a7f9c-35f7-4afe-8da5-56a177c7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c6ae89-1a0c-40bd-bfa0-b278409e1f3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F7D3CD-6491-42BB-AFF7-985BE35833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a7f9c-35f7-4afe-8da5-56a177c74bd1"/>
    <ds:schemaRef ds:uri="d0c6ae89-1a0c-40bd-bfa0-b278409e1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B87FFC-8087-4AC6-AABC-4206F5BE880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35E6DC5-C4BB-4E24-8BD2-D1483242CDF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824</TotalTime>
  <Words>840</Words>
  <Application>Microsoft Office PowerPoint</Application>
  <PresentationFormat>Widescreen</PresentationFormat>
  <Paragraphs>109</Paragraphs>
  <Slides>16</Slides>
  <Notes>0</Notes>
  <HiddenSlides>0</HiddenSlides>
  <MMClips>0</MMClips>
  <ScaleCrop>false</ScaleCrop>
  <HeadingPairs>
    <vt:vector size="8" baseType="variant">
      <vt:variant>
        <vt:lpstr>Fonts Used</vt:lpstr>
      </vt:variant>
      <vt:variant>
        <vt:i4>15</vt:i4>
      </vt:variant>
      <vt:variant>
        <vt:lpstr>Theme</vt:lpstr>
      </vt:variant>
      <vt:variant>
        <vt:i4>16</vt:i4>
      </vt:variant>
      <vt:variant>
        <vt:lpstr>Embedded OLE Servers</vt:lpstr>
      </vt:variant>
      <vt:variant>
        <vt:i4>1</vt:i4>
      </vt:variant>
      <vt:variant>
        <vt:lpstr>Slide Titles</vt:lpstr>
      </vt:variant>
      <vt:variant>
        <vt:i4>16</vt:i4>
      </vt:variant>
    </vt:vector>
  </HeadingPairs>
  <TitlesOfParts>
    <vt:vector size="48" baseType="lpstr">
      <vt:lpstr>ＭＳ Ｐゴシック</vt:lpstr>
      <vt:lpstr>SimSun</vt:lpstr>
      <vt:lpstr>Alleyn Book</vt:lpstr>
      <vt:lpstr>Arial</vt:lpstr>
      <vt:lpstr>Arial Rounded MT Std</vt:lpstr>
      <vt:lpstr>Berlin Sans FB</vt:lpstr>
      <vt:lpstr>Calibri</vt:lpstr>
      <vt:lpstr>Helvetica</vt:lpstr>
      <vt:lpstr>Lucida Grande</vt:lpstr>
      <vt:lpstr>Montserrat</vt:lpstr>
      <vt:lpstr>Montserrat Light</vt:lpstr>
      <vt:lpstr>Open Sans</vt:lpstr>
      <vt:lpstr>SE Rounded Medium</vt:lpstr>
      <vt:lpstr>SEOptimistBlack</vt:lpstr>
      <vt:lpstr>SEOptimistLight</vt:lpstr>
      <vt:lpstr>CABA Presentation 1</vt:lpstr>
      <vt:lpstr>1_SE15_LIO_TextOnly V3</vt:lpstr>
      <vt:lpstr>4_Schneider Text Slides</vt:lpstr>
      <vt:lpstr>1_Schneider Text Slides</vt:lpstr>
      <vt:lpstr>2_Schneider Title Slides</vt:lpstr>
      <vt:lpstr>SE15_LIO_TextOnly V3</vt:lpstr>
      <vt:lpstr>3_Schneider Text Slides</vt:lpstr>
      <vt:lpstr>Schneider Text Slides</vt:lpstr>
      <vt:lpstr>14_Schneider Text Slides</vt:lpstr>
      <vt:lpstr>1_COVER_Jan_2025</vt:lpstr>
      <vt:lpstr>3_Blue_DIVIDER_Jan_2025</vt:lpstr>
      <vt:lpstr>4_White_NO LOGO_Jan_2025</vt:lpstr>
      <vt:lpstr>4_Blue_DIVIDER_Jan_2025</vt:lpstr>
      <vt:lpstr>5_BLUE_Jan_2025</vt:lpstr>
      <vt:lpstr>3_WITH LOGO_Jan_2025</vt:lpstr>
      <vt:lpstr>6_CASE STUDY_Jan_2025</vt:lpstr>
      <vt:lpstr>think-cell Slide</vt:lpstr>
      <vt:lpstr>Smart Building Council (SBC)  Webinar/Meeting will commence 12:05pm ET  Wednesday, February 11, 2026  |  12 NOON – 1:30 PM (ET) </vt:lpstr>
      <vt:lpstr>Agenda Marta Klopotowska (ASHB)</vt:lpstr>
      <vt:lpstr>1.  Call to Order, Welcome, Introductions, About the SBC Robert Lane (Robert H. Lane &amp; Associates Inc.)</vt:lpstr>
      <vt:lpstr>2.  Administrative  Robert Lane (Robert H. Lane &amp; Associates Inc.)</vt:lpstr>
      <vt:lpstr>3.  Research Update Greg Walker (ASHB)</vt:lpstr>
      <vt:lpstr>3.  Research Update Greg Walker (ASHB)</vt:lpstr>
      <vt:lpstr>3.  Research Update Greg Walker (ASHB)</vt:lpstr>
      <vt:lpstr>PowerPoint Presentation</vt:lpstr>
      <vt:lpstr>PowerPoint Presentation</vt:lpstr>
      <vt:lpstr>5. Smarter Homes &amp; Buildings Podcast Marta Klopotowska (ASHB)</vt:lpstr>
      <vt:lpstr>6.  ASHB Whitepapers  Ken Wacks (Ken Wacks Associates)</vt:lpstr>
      <vt:lpstr>6.  ASHB Research Library  Ken Wacks (Ken Wacks Associates)</vt:lpstr>
      <vt:lpstr>7.  ASHB Journal Ken Wacks (Ken Wacks Associates)</vt:lpstr>
      <vt:lpstr>8.  New Business Robert Lane (Robert H. Lane &amp; Associates Inc.)</vt:lpstr>
      <vt:lpstr>9.  Announcements Marta Klopotowska (ASHB)</vt:lpstr>
      <vt:lpstr>10.  Adjournment Robert Lane (Robert H. Lane &amp; Associates In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Marta Klopotowska</cp:lastModifiedBy>
  <cp:revision>71</cp:revision>
  <dcterms:created xsi:type="dcterms:W3CDTF">2018-08-09T13:04:51Z</dcterms:created>
  <dcterms:modified xsi:type="dcterms:W3CDTF">2026-02-10T19:2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827C2D24DC641BF3335721A0BFAD0</vt:lpwstr>
  </property>
</Properties>
</file>